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7.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8.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ink/ink1.xml" ContentType="application/inkml+xml"/>
  <Override PartName="/ppt/notesSlides/notesSlide2.xml" ContentType="application/vnd.openxmlformats-officedocument.presentationml.notesSlide+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 id="2147483685" r:id="rId4"/>
    <p:sldMasterId id="2147483698" r:id="rId5"/>
    <p:sldMasterId id="2147483702" r:id="rId6"/>
    <p:sldMasterId id="2147483716" r:id="rId7"/>
    <p:sldMasterId id="2147483725" r:id="rId8"/>
    <p:sldMasterId id="2147483739" r:id="rId9"/>
  </p:sldMasterIdLst>
  <p:notesMasterIdLst>
    <p:notesMasterId r:id="rId54"/>
  </p:notesMasterIdLst>
  <p:sldIdLst>
    <p:sldId id="256" r:id="rId10"/>
    <p:sldId id="266" r:id="rId11"/>
    <p:sldId id="2147471631" r:id="rId12"/>
    <p:sldId id="2147471643" r:id="rId13"/>
    <p:sldId id="2145707689" r:id="rId14"/>
    <p:sldId id="2147471645" r:id="rId15"/>
    <p:sldId id="17266" r:id="rId16"/>
    <p:sldId id="2147471650" r:id="rId17"/>
    <p:sldId id="1079" r:id="rId18"/>
    <p:sldId id="17188" r:id="rId19"/>
    <p:sldId id="1017" r:id="rId20"/>
    <p:sldId id="1055" r:id="rId21"/>
    <p:sldId id="2147471651" r:id="rId22"/>
    <p:sldId id="1058" r:id="rId23"/>
    <p:sldId id="17259" r:id="rId24"/>
    <p:sldId id="1099" r:id="rId25"/>
    <p:sldId id="338" r:id="rId26"/>
    <p:sldId id="2147471661" r:id="rId27"/>
    <p:sldId id="1057" r:id="rId28"/>
    <p:sldId id="17289" r:id="rId29"/>
    <p:sldId id="17295" r:id="rId30"/>
    <p:sldId id="574" r:id="rId31"/>
    <p:sldId id="575" r:id="rId32"/>
    <p:sldId id="2147471545" r:id="rId33"/>
    <p:sldId id="2147471577" r:id="rId34"/>
    <p:sldId id="2147471578" r:id="rId35"/>
    <p:sldId id="1039" r:id="rId36"/>
    <p:sldId id="2147471653" r:id="rId37"/>
    <p:sldId id="2147471664" r:id="rId38"/>
    <p:sldId id="2145707544" r:id="rId39"/>
    <p:sldId id="260" r:id="rId40"/>
    <p:sldId id="2147471652" r:id="rId41"/>
    <p:sldId id="2147471654" r:id="rId42"/>
    <p:sldId id="2147471656" r:id="rId43"/>
    <p:sldId id="2147471655" r:id="rId44"/>
    <p:sldId id="419" r:id="rId45"/>
    <p:sldId id="4128" r:id="rId46"/>
    <p:sldId id="267" r:id="rId47"/>
    <p:sldId id="2147471657" r:id="rId48"/>
    <p:sldId id="2147471658" r:id="rId49"/>
    <p:sldId id="2147471659" r:id="rId50"/>
    <p:sldId id="2147471660" r:id="rId51"/>
    <p:sldId id="2147471662" r:id="rId52"/>
    <p:sldId id="2147471663"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376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F916BEB-5504-4695-B5B3-F11C9DD98B52}" v="36" dt="2022-08-01T18:19:28.32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3" d="100"/>
          <a:sy n="63" d="100"/>
        </p:scale>
        <p:origin x="84" y="132"/>
      </p:cViewPr>
      <p:guideLst/>
    </p:cSldViewPr>
  </p:slideViewPr>
  <p:notesTextViewPr>
    <p:cViewPr>
      <p:scale>
        <a:sx n="1" d="1"/>
        <a:sy n="1" d="1"/>
      </p:scale>
      <p:origin x="0" y="0"/>
    </p:cViewPr>
  </p:notesTextViewPr>
  <p:sorterViewPr>
    <p:cViewPr>
      <p:scale>
        <a:sx n="80" d="100"/>
        <a:sy n="80" d="100"/>
      </p:scale>
      <p:origin x="0" y="-188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42.xml"/><Relationship Id="rId3"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len Bevan" userId="d6f13c06-4063-4f09-bcc3-ea714f02a623" providerId="ADAL" clId="{8F916BEB-5504-4695-B5B3-F11C9DD98B52}"/>
    <pc:docChg chg="undo custSel addSld delSld modSld delMainMaster">
      <pc:chgData name="Helen Bevan" userId="d6f13c06-4063-4f09-bcc3-ea714f02a623" providerId="ADAL" clId="{8F916BEB-5504-4695-B5B3-F11C9DD98B52}" dt="2022-08-01T18:19:55.762" v="470" actId="20577"/>
      <pc:docMkLst>
        <pc:docMk/>
      </pc:docMkLst>
      <pc:sldChg chg="addSp delSp modSp mod">
        <pc:chgData name="Helen Bevan" userId="d6f13c06-4063-4f09-bcc3-ea714f02a623" providerId="ADAL" clId="{8F916BEB-5504-4695-B5B3-F11C9DD98B52}" dt="2022-08-01T18:16:52.962" v="458" actId="14100"/>
        <pc:sldMkLst>
          <pc:docMk/>
          <pc:sldMk cId="548701832" sldId="256"/>
        </pc:sldMkLst>
        <pc:spChg chg="del">
          <ac:chgData name="Helen Bevan" userId="d6f13c06-4063-4f09-bcc3-ea714f02a623" providerId="ADAL" clId="{8F916BEB-5504-4695-B5B3-F11C9DD98B52}" dt="2022-08-01T18:16:42.938" v="455" actId="478"/>
          <ac:spMkLst>
            <pc:docMk/>
            <pc:sldMk cId="548701832" sldId="256"/>
            <ac:spMk id="9" creationId="{2D766FE3-ECEF-4D87-9344-E74ED71FDA8B}"/>
          </ac:spMkLst>
        </pc:spChg>
        <pc:picChg chg="add mod">
          <ac:chgData name="Helen Bevan" userId="d6f13c06-4063-4f09-bcc3-ea714f02a623" providerId="ADAL" clId="{8F916BEB-5504-4695-B5B3-F11C9DD98B52}" dt="2022-08-01T18:16:52.962" v="458" actId="14100"/>
          <ac:picMkLst>
            <pc:docMk/>
            <pc:sldMk cId="548701832" sldId="256"/>
            <ac:picMk id="4" creationId="{EA2A686A-D55D-491E-9BDF-05F1BD6C6CB5}"/>
          </ac:picMkLst>
        </pc:picChg>
      </pc:sldChg>
      <pc:sldChg chg="del">
        <pc:chgData name="Helen Bevan" userId="d6f13c06-4063-4f09-bcc3-ea714f02a623" providerId="ADAL" clId="{8F916BEB-5504-4695-B5B3-F11C9DD98B52}" dt="2022-07-31T19:55:03.245" v="127" actId="47"/>
        <pc:sldMkLst>
          <pc:docMk/>
          <pc:sldMk cId="1216646629" sldId="277"/>
        </pc:sldMkLst>
      </pc:sldChg>
      <pc:sldChg chg="del">
        <pc:chgData name="Helen Bevan" userId="d6f13c06-4063-4f09-bcc3-ea714f02a623" providerId="ADAL" clId="{8F916BEB-5504-4695-B5B3-F11C9DD98B52}" dt="2022-07-31T20:29:10.148" v="307" actId="47"/>
        <pc:sldMkLst>
          <pc:docMk/>
          <pc:sldMk cId="2175810339" sldId="371"/>
        </pc:sldMkLst>
      </pc:sldChg>
      <pc:sldChg chg="modSp mod">
        <pc:chgData name="Helen Bevan" userId="d6f13c06-4063-4f09-bcc3-ea714f02a623" providerId="ADAL" clId="{8F916BEB-5504-4695-B5B3-F11C9DD98B52}" dt="2022-07-31T20:25:48.048" v="306" actId="207"/>
        <pc:sldMkLst>
          <pc:docMk/>
          <pc:sldMk cId="2352456873" sldId="1099"/>
        </pc:sldMkLst>
        <pc:spChg chg="mod">
          <ac:chgData name="Helen Bevan" userId="d6f13c06-4063-4f09-bcc3-ea714f02a623" providerId="ADAL" clId="{8F916BEB-5504-4695-B5B3-F11C9DD98B52}" dt="2022-07-31T20:25:48.048" v="306" actId="207"/>
          <ac:spMkLst>
            <pc:docMk/>
            <pc:sldMk cId="2352456873" sldId="1099"/>
            <ac:spMk id="2" creationId="{00000000-0000-0000-0000-000000000000}"/>
          </ac:spMkLst>
        </pc:spChg>
      </pc:sldChg>
      <pc:sldChg chg="modSp mod">
        <pc:chgData name="Helen Bevan" userId="d6f13c06-4063-4f09-bcc3-ea714f02a623" providerId="ADAL" clId="{8F916BEB-5504-4695-B5B3-F11C9DD98B52}" dt="2022-07-31T20:25:38.607" v="305" actId="1076"/>
        <pc:sldMkLst>
          <pc:docMk/>
          <pc:sldMk cId="3628484433" sldId="17259"/>
        </pc:sldMkLst>
        <pc:spChg chg="mod">
          <ac:chgData name="Helen Bevan" userId="d6f13c06-4063-4f09-bcc3-ea714f02a623" providerId="ADAL" clId="{8F916BEB-5504-4695-B5B3-F11C9DD98B52}" dt="2022-07-31T20:25:38.607" v="305" actId="1076"/>
          <ac:spMkLst>
            <pc:docMk/>
            <pc:sldMk cId="3628484433" sldId="17259"/>
            <ac:spMk id="5" creationId="{E8B05D4B-7E6B-4741-827D-C40ACE813F43}"/>
          </ac:spMkLst>
        </pc:spChg>
      </pc:sldChg>
      <pc:sldChg chg="modSp mod">
        <pc:chgData name="Helen Bevan" userId="d6f13c06-4063-4f09-bcc3-ea714f02a623" providerId="ADAL" clId="{8F916BEB-5504-4695-B5B3-F11C9DD98B52}" dt="2022-07-30T02:10:39.587" v="42" actId="14100"/>
        <pc:sldMkLst>
          <pc:docMk/>
          <pc:sldMk cId="3331966337" sldId="2145707689"/>
        </pc:sldMkLst>
        <pc:spChg chg="mod">
          <ac:chgData name="Helen Bevan" userId="d6f13c06-4063-4f09-bcc3-ea714f02a623" providerId="ADAL" clId="{8F916BEB-5504-4695-B5B3-F11C9DD98B52}" dt="2022-07-30T02:10:39.587" v="42" actId="14100"/>
          <ac:spMkLst>
            <pc:docMk/>
            <pc:sldMk cId="3331966337" sldId="2145707689"/>
            <ac:spMk id="4" creationId="{5FA22E05-3304-45D6-B1EE-9DAB6AAF3C15}"/>
          </ac:spMkLst>
        </pc:spChg>
        <pc:inkChg chg="mod">
          <ac:chgData name="Helen Bevan" userId="d6f13c06-4063-4f09-bcc3-ea714f02a623" providerId="ADAL" clId="{8F916BEB-5504-4695-B5B3-F11C9DD98B52}" dt="2022-07-30T02:09:51.074" v="23" actId="208"/>
          <ac:inkMkLst>
            <pc:docMk/>
            <pc:sldMk cId="3331966337" sldId="2145707689"/>
            <ac:inkMk id="5" creationId="{933678E3-2E12-410E-9C7B-EF0947C1C031}"/>
          </ac:inkMkLst>
        </pc:inkChg>
      </pc:sldChg>
      <pc:sldChg chg="modSp mod">
        <pc:chgData name="Helen Bevan" userId="d6f13c06-4063-4f09-bcc3-ea714f02a623" providerId="ADAL" clId="{8F916BEB-5504-4695-B5B3-F11C9DD98B52}" dt="2022-07-30T02:11:36.145" v="45" actId="1076"/>
        <pc:sldMkLst>
          <pc:docMk/>
          <pc:sldMk cId="3053656106" sldId="2147471645"/>
        </pc:sldMkLst>
        <pc:spChg chg="mod">
          <ac:chgData name="Helen Bevan" userId="d6f13c06-4063-4f09-bcc3-ea714f02a623" providerId="ADAL" clId="{8F916BEB-5504-4695-B5B3-F11C9DD98B52}" dt="2022-07-30T02:11:36.145" v="45" actId="1076"/>
          <ac:spMkLst>
            <pc:docMk/>
            <pc:sldMk cId="3053656106" sldId="2147471645"/>
            <ac:spMk id="2" creationId="{DBEAB990-380B-49B4-944E-0E9927E9D990}"/>
          </ac:spMkLst>
        </pc:spChg>
        <pc:spChg chg="mod">
          <ac:chgData name="Helen Bevan" userId="d6f13c06-4063-4f09-bcc3-ea714f02a623" providerId="ADAL" clId="{8F916BEB-5504-4695-B5B3-F11C9DD98B52}" dt="2022-07-30T02:11:04.441" v="43" actId="14100"/>
          <ac:spMkLst>
            <pc:docMk/>
            <pc:sldMk cId="3053656106" sldId="2147471645"/>
            <ac:spMk id="24" creationId="{C012793A-8818-4AF9-B451-57B3A23ADCB7}"/>
          </ac:spMkLst>
        </pc:spChg>
      </pc:sldChg>
      <pc:sldChg chg="modSp mod">
        <pc:chgData name="Helen Bevan" userId="d6f13c06-4063-4f09-bcc3-ea714f02a623" providerId="ADAL" clId="{8F916BEB-5504-4695-B5B3-F11C9DD98B52}" dt="2022-07-31T20:25:13.797" v="304" actId="207"/>
        <pc:sldMkLst>
          <pc:docMk/>
          <pc:sldMk cId="2577346773" sldId="2147471651"/>
        </pc:sldMkLst>
        <pc:spChg chg="mod">
          <ac:chgData name="Helen Bevan" userId="d6f13c06-4063-4f09-bcc3-ea714f02a623" providerId="ADAL" clId="{8F916BEB-5504-4695-B5B3-F11C9DD98B52}" dt="2022-07-31T20:24:52.408" v="299" actId="207"/>
          <ac:spMkLst>
            <pc:docMk/>
            <pc:sldMk cId="2577346773" sldId="2147471651"/>
            <ac:spMk id="2" creationId="{9E20F04D-29D2-41B1-AB64-396AA87186E7}"/>
          </ac:spMkLst>
        </pc:spChg>
        <pc:spChg chg="mod">
          <ac:chgData name="Helen Bevan" userId="d6f13c06-4063-4f09-bcc3-ea714f02a623" providerId="ADAL" clId="{8F916BEB-5504-4695-B5B3-F11C9DD98B52}" dt="2022-07-31T20:25:13.797" v="304" actId="207"/>
          <ac:spMkLst>
            <pc:docMk/>
            <pc:sldMk cId="2577346773" sldId="2147471651"/>
            <ac:spMk id="3" creationId="{2101CFFA-9E28-4DBF-B70C-9F1E92024A4E}"/>
          </ac:spMkLst>
        </pc:spChg>
      </pc:sldChg>
      <pc:sldChg chg="addSp modSp">
        <pc:chgData name="Helen Bevan" userId="d6f13c06-4063-4f09-bcc3-ea714f02a623" providerId="ADAL" clId="{8F916BEB-5504-4695-B5B3-F11C9DD98B52}" dt="2022-08-01T18:19:28.323" v="462"/>
        <pc:sldMkLst>
          <pc:docMk/>
          <pc:sldMk cId="2673906486" sldId="2147471654"/>
        </pc:sldMkLst>
        <pc:picChg chg="add mod">
          <ac:chgData name="Helen Bevan" userId="d6f13c06-4063-4f09-bcc3-ea714f02a623" providerId="ADAL" clId="{8F916BEB-5504-4695-B5B3-F11C9DD98B52}" dt="2022-08-01T18:19:28.323" v="462"/>
          <ac:picMkLst>
            <pc:docMk/>
            <pc:sldMk cId="2673906486" sldId="2147471654"/>
            <ac:picMk id="4" creationId="{890AD723-A3E2-475C-A2D9-F129D517A0DA}"/>
          </ac:picMkLst>
        </pc:picChg>
      </pc:sldChg>
      <pc:sldChg chg="modSp mod">
        <pc:chgData name="Helen Bevan" userId="d6f13c06-4063-4f09-bcc3-ea714f02a623" providerId="ADAL" clId="{8F916BEB-5504-4695-B5B3-F11C9DD98B52}" dt="2022-08-01T18:19:55.762" v="470" actId="20577"/>
        <pc:sldMkLst>
          <pc:docMk/>
          <pc:sldMk cId="3832624158" sldId="2147471657"/>
        </pc:sldMkLst>
        <pc:spChg chg="mod">
          <ac:chgData name="Helen Bevan" userId="d6f13c06-4063-4f09-bcc3-ea714f02a623" providerId="ADAL" clId="{8F916BEB-5504-4695-B5B3-F11C9DD98B52}" dt="2022-08-01T18:19:55.762" v="470" actId="20577"/>
          <ac:spMkLst>
            <pc:docMk/>
            <pc:sldMk cId="3832624158" sldId="2147471657"/>
            <ac:spMk id="3" creationId="{3B794B38-0F14-4F0F-B734-DC3BBE6D1CD8}"/>
          </ac:spMkLst>
        </pc:spChg>
      </pc:sldChg>
      <pc:sldChg chg="addSp delSp modSp new mod">
        <pc:chgData name="Helen Bevan" userId="d6f13c06-4063-4f09-bcc3-ea714f02a623" providerId="ADAL" clId="{8F916BEB-5504-4695-B5B3-F11C9DD98B52}" dt="2022-07-31T20:04:03.631" v="212" actId="14100"/>
        <pc:sldMkLst>
          <pc:docMk/>
          <pc:sldMk cId="3210543976" sldId="2147471658"/>
        </pc:sldMkLst>
        <pc:spChg chg="mod">
          <ac:chgData name="Helen Bevan" userId="d6f13c06-4063-4f09-bcc3-ea714f02a623" providerId="ADAL" clId="{8F916BEB-5504-4695-B5B3-F11C9DD98B52}" dt="2022-07-31T20:03:38.342" v="206" actId="403"/>
          <ac:spMkLst>
            <pc:docMk/>
            <pc:sldMk cId="3210543976" sldId="2147471658"/>
            <ac:spMk id="2" creationId="{290D4FCB-B5CF-4C23-AC70-7FD1D41E220A}"/>
          </ac:spMkLst>
        </pc:spChg>
        <pc:spChg chg="del">
          <ac:chgData name="Helen Bevan" userId="d6f13c06-4063-4f09-bcc3-ea714f02a623" providerId="ADAL" clId="{8F916BEB-5504-4695-B5B3-F11C9DD98B52}" dt="2022-07-31T19:58:33.443" v="154" actId="478"/>
          <ac:spMkLst>
            <pc:docMk/>
            <pc:sldMk cId="3210543976" sldId="2147471658"/>
            <ac:spMk id="3" creationId="{14753653-E140-41E4-BA92-9041B3366714}"/>
          </ac:spMkLst>
        </pc:spChg>
        <pc:spChg chg="add mod">
          <ac:chgData name="Helen Bevan" userId="d6f13c06-4063-4f09-bcc3-ea714f02a623" providerId="ADAL" clId="{8F916BEB-5504-4695-B5B3-F11C9DD98B52}" dt="2022-07-31T20:02:33.386" v="194" actId="1076"/>
          <ac:spMkLst>
            <pc:docMk/>
            <pc:sldMk cId="3210543976" sldId="2147471658"/>
            <ac:spMk id="5" creationId="{462931F2-993F-477B-9571-182A9F6429D9}"/>
          </ac:spMkLst>
        </pc:spChg>
        <pc:spChg chg="add mod ord">
          <ac:chgData name="Helen Bevan" userId="d6f13c06-4063-4f09-bcc3-ea714f02a623" providerId="ADAL" clId="{8F916BEB-5504-4695-B5B3-F11C9DD98B52}" dt="2022-07-31T20:03:56.268" v="210" actId="1076"/>
          <ac:spMkLst>
            <pc:docMk/>
            <pc:sldMk cId="3210543976" sldId="2147471658"/>
            <ac:spMk id="7" creationId="{5BE313DE-1E90-4CEC-BED5-E11FCB876704}"/>
          </ac:spMkLst>
        </pc:spChg>
        <pc:spChg chg="add mod ord">
          <ac:chgData name="Helen Bevan" userId="d6f13c06-4063-4f09-bcc3-ea714f02a623" providerId="ADAL" clId="{8F916BEB-5504-4695-B5B3-F11C9DD98B52}" dt="2022-07-31T20:04:03.631" v="212" actId="14100"/>
          <ac:spMkLst>
            <pc:docMk/>
            <pc:sldMk cId="3210543976" sldId="2147471658"/>
            <ac:spMk id="8" creationId="{E0D95C9D-FB37-4327-B47F-614ACBCE25FE}"/>
          </ac:spMkLst>
        </pc:spChg>
        <pc:picChg chg="add mod">
          <ac:chgData name="Helen Bevan" userId="d6f13c06-4063-4f09-bcc3-ea714f02a623" providerId="ADAL" clId="{8F916BEB-5504-4695-B5B3-F11C9DD98B52}" dt="2022-07-31T20:03:51.780" v="209" actId="1076"/>
          <ac:picMkLst>
            <pc:docMk/>
            <pc:sldMk cId="3210543976" sldId="2147471658"/>
            <ac:picMk id="10" creationId="{9F14E545-BA7B-43A1-BEBD-F99541181515}"/>
          </ac:picMkLst>
        </pc:picChg>
        <pc:picChg chg="add mod">
          <ac:chgData name="Helen Bevan" userId="d6f13c06-4063-4f09-bcc3-ea714f02a623" providerId="ADAL" clId="{8F916BEB-5504-4695-B5B3-F11C9DD98B52}" dt="2022-07-31T20:02:18.628" v="191" actId="1076"/>
          <ac:picMkLst>
            <pc:docMk/>
            <pc:sldMk cId="3210543976" sldId="2147471658"/>
            <ac:picMk id="12" creationId="{912FF76A-D899-4DD6-9F13-0042EF7FAAB5}"/>
          </ac:picMkLst>
        </pc:picChg>
      </pc:sldChg>
      <pc:sldChg chg="addSp delSp modSp new mod modClrScheme chgLayout">
        <pc:chgData name="Helen Bevan" userId="d6f13c06-4063-4f09-bcc3-ea714f02a623" providerId="ADAL" clId="{8F916BEB-5504-4695-B5B3-F11C9DD98B52}" dt="2022-08-01T03:28:48.323" v="454" actId="122"/>
        <pc:sldMkLst>
          <pc:docMk/>
          <pc:sldMk cId="2910993162" sldId="2147471659"/>
        </pc:sldMkLst>
        <pc:spChg chg="del">
          <ac:chgData name="Helen Bevan" userId="d6f13c06-4063-4f09-bcc3-ea714f02a623" providerId="ADAL" clId="{8F916BEB-5504-4695-B5B3-F11C9DD98B52}" dt="2022-07-31T19:48:31.485" v="47" actId="700"/>
          <ac:spMkLst>
            <pc:docMk/>
            <pc:sldMk cId="2910993162" sldId="2147471659"/>
            <ac:spMk id="2" creationId="{B1F5514A-03EC-45A8-965D-5D518C704187}"/>
          </ac:spMkLst>
        </pc:spChg>
        <pc:spChg chg="del">
          <ac:chgData name="Helen Bevan" userId="d6f13c06-4063-4f09-bcc3-ea714f02a623" providerId="ADAL" clId="{8F916BEB-5504-4695-B5B3-F11C9DD98B52}" dt="2022-07-31T19:48:31.485" v="47" actId="700"/>
          <ac:spMkLst>
            <pc:docMk/>
            <pc:sldMk cId="2910993162" sldId="2147471659"/>
            <ac:spMk id="3" creationId="{24D31CC8-7E1D-415E-BFCC-D966815D0B2B}"/>
          </ac:spMkLst>
        </pc:spChg>
        <pc:spChg chg="add mod">
          <ac:chgData name="Helen Bevan" userId="d6f13c06-4063-4f09-bcc3-ea714f02a623" providerId="ADAL" clId="{8F916BEB-5504-4695-B5B3-F11C9DD98B52}" dt="2022-07-31T19:51:59.692" v="102" actId="1076"/>
          <ac:spMkLst>
            <pc:docMk/>
            <pc:sldMk cId="2910993162" sldId="2147471659"/>
            <ac:spMk id="4" creationId="{3658D5D3-2D5F-46A7-8396-04FD8189E0FA}"/>
          </ac:spMkLst>
        </pc:spChg>
        <pc:spChg chg="add mod">
          <ac:chgData name="Helen Bevan" userId="d6f13c06-4063-4f09-bcc3-ea714f02a623" providerId="ADAL" clId="{8F916BEB-5504-4695-B5B3-F11C9DD98B52}" dt="2022-08-01T03:28:48.323" v="454" actId="122"/>
          <ac:spMkLst>
            <pc:docMk/>
            <pc:sldMk cId="2910993162" sldId="2147471659"/>
            <ac:spMk id="9" creationId="{88389B31-AA27-4D3D-9DD2-0810F111E7A3}"/>
          </ac:spMkLst>
        </pc:spChg>
        <pc:picChg chg="add mod">
          <ac:chgData name="Helen Bevan" userId="d6f13c06-4063-4f09-bcc3-ea714f02a623" providerId="ADAL" clId="{8F916BEB-5504-4695-B5B3-F11C9DD98B52}" dt="2022-07-31T19:52:04.361" v="103" actId="1076"/>
          <ac:picMkLst>
            <pc:docMk/>
            <pc:sldMk cId="2910993162" sldId="2147471659"/>
            <ac:picMk id="1026" creationId="{6B6B7E26-EBD3-49F7-9591-953727F1632C}"/>
          </ac:picMkLst>
        </pc:picChg>
        <pc:picChg chg="add del mod">
          <ac:chgData name="Helen Bevan" userId="d6f13c06-4063-4f09-bcc3-ea714f02a623" providerId="ADAL" clId="{8F916BEB-5504-4695-B5B3-F11C9DD98B52}" dt="2022-07-31T19:50:53.969" v="97" actId="478"/>
          <ac:picMkLst>
            <pc:docMk/>
            <pc:sldMk cId="2910993162" sldId="2147471659"/>
            <ac:picMk id="1028" creationId="{7BCF4F78-B253-4278-8218-CFB8C82A9B2D}"/>
          </ac:picMkLst>
        </pc:picChg>
        <pc:picChg chg="add del mod">
          <ac:chgData name="Helen Bevan" userId="d6f13c06-4063-4f09-bcc3-ea714f02a623" providerId="ADAL" clId="{8F916BEB-5504-4695-B5B3-F11C9DD98B52}" dt="2022-07-31T19:54:07.762" v="122" actId="478"/>
          <ac:picMkLst>
            <pc:docMk/>
            <pc:sldMk cId="2910993162" sldId="2147471659"/>
            <ac:picMk id="1030" creationId="{033D5853-038D-4E29-96E3-91C7DCB773E6}"/>
          </ac:picMkLst>
        </pc:picChg>
        <pc:picChg chg="add mod">
          <ac:chgData name="Helen Bevan" userId="d6f13c06-4063-4f09-bcc3-ea714f02a623" providerId="ADAL" clId="{8F916BEB-5504-4695-B5B3-F11C9DD98B52}" dt="2022-07-31T19:54:22.690" v="126" actId="1076"/>
          <ac:picMkLst>
            <pc:docMk/>
            <pc:sldMk cId="2910993162" sldId="2147471659"/>
            <ac:picMk id="1032" creationId="{B87C6446-45D9-43AF-886E-68D130631AE4}"/>
          </ac:picMkLst>
        </pc:picChg>
      </pc:sldChg>
      <pc:sldChg chg="addSp delSp modSp new mod modClrScheme chgLayout">
        <pc:chgData name="Helen Bevan" userId="d6f13c06-4063-4f09-bcc3-ea714f02a623" providerId="ADAL" clId="{8F916BEB-5504-4695-B5B3-F11C9DD98B52}" dt="2022-07-31T20:23:18.429" v="298" actId="1076"/>
        <pc:sldMkLst>
          <pc:docMk/>
          <pc:sldMk cId="2239147041" sldId="2147471660"/>
        </pc:sldMkLst>
        <pc:spChg chg="mod ord">
          <ac:chgData name="Helen Bevan" userId="d6f13c06-4063-4f09-bcc3-ea714f02a623" providerId="ADAL" clId="{8F916BEB-5504-4695-B5B3-F11C9DD98B52}" dt="2022-07-31T20:21:41.033" v="249" actId="404"/>
          <ac:spMkLst>
            <pc:docMk/>
            <pc:sldMk cId="2239147041" sldId="2147471660"/>
            <ac:spMk id="2" creationId="{BB3AB850-D7F5-44BE-8454-DE923295DC59}"/>
          </ac:spMkLst>
        </pc:spChg>
        <pc:spChg chg="add del mod">
          <ac:chgData name="Helen Bevan" userId="d6f13c06-4063-4f09-bcc3-ea714f02a623" providerId="ADAL" clId="{8F916BEB-5504-4695-B5B3-F11C9DD98B52}" dt="2022-07-31T20:20:15.547" v="234"/>
          <ac:spMkLst>
            <pc:docMk/>
            <pc:sldMk cId="2239147041" sldId="2147471660"/>
            <ac:spMk id="4" creationId="{A9719B58-3993-4D3A-9694-5B905DEE87B7}"/>
          </ac:spMkLst>
        </pc:spChg>
        <pc:spChg chg="add del mod">
          <ac:chgData name="Helen Bevan" userId="d6f13c06-4063-4f09-bcc3-ea714f02a623" providerId="ADAL" clId="{8F916BEB-5504-4695-B5B3-F11C9DD98B52}" dt="2022-07-31T20:21:08.467" v="238" actId="478"/>
          <ac:spMkLst>
            <pc:docMk/>
            <pc:sldMk cId="2239147041" sldId="2147471660"/>
            <ac:spMk id="6" creationId="{D2F73C6B-D922-4AFE-932E-5C061843623C}"/>
          </ac:spMkLst>
        </pc:spChg>
        <pc:spChg chg="add mod ord">
          <ac:chgData name="Helen Bevan" userId="d6f13c06-4063-4f09-bcc3-ea714f02a623" providerId="ADAL" clId="{8F916BEB-5504-4695-B5B3-F11C9DD98B52}" dt="2022-07-31T20:23:18.429" v="298" actId="1076"/>
          <ac:spMkLst>
            <pc:docMk/>
            <pc:sldMk cId="2239147041" sldId="2147471660"/>
            <ac:spMk id="7" creationId="{FC4444FA-3CF8-4C85-A188-59EA1E029411}"/>
          </ac:spMkLst>
        </pc:spChg>
      </pc:sldChg>
      <pc:sldChg chg="addSp delSp modSp new mod setBg modClrScheme setClrOvrMap chgLayout">
        <pc:chgData name="Helen Bevan" userId="d6f13c06-4063-4f09-bcc3-ea714f02a623" providerId="ADAL" clId="{8F916BEB-5504-4695-B5B3-F11C9DD98B52}" dt="2022-07-31T20:32:39.398" v="317" actId="27614"/>
        <pc:sldMkLst>
          <pc:docMk/>
          <pc:sldMk cId="3641048382" sldId="2147471662"/>
        </pc:sldMkLst>
        <pc:spChg chg="del">
          <ac:chgData name="Helen Bevan" userId="d6f13c06-4063-4f09-bcc3-ea714f02a623" providerId="ADAL" clId="{8F916BEB-5504-4695-B5B3-F11C9DD98B52}" dt="2022-07-31T20:32:05.282" v="309" actId="700"/>
          <ac:spMkLst>
            <pc:docMk/>
            <pc:sldMk cId="3641048382" sldId="2147471662"/>
            <ac:spMk id="2" creationId="{0C017067-585F-4D21-87C8-FD500800936B}"/>
          </ac:spMkLst>
        </pc:spChg>
        <pc:spChg chg="del">
          <ac:chgData name="Helen Bevan" userId="d6f13c06-4063-4f09-bcc3-ea714f02a623" providerId="ADAL" clId="{8F916BEB-5504-4695-B5B3-F11C9DD98B52}" dt="2022-07-31T20:32:05.282" v="309" actId="700"/>
          <ac:spMkLst>
            <pc:docMk/>
            <pc:sldMk cId="3641048382" sldId="2147471662"/>
            <ac:spMk id="3" creationId="{06DB7435-CBDD-4D86-B70C-79D82A901348}"/>
          </ac:spMkLst>
        </pc:spChg>
        <pc:spChg chg="add">
          <ac:chgData name="Helen Bevan" userId="d6f13c06-4063-4f09-bcc3-ea714f02a623" providerId="ADAL" clId="{8F916BEB-5504-4695-B5B3-F11C9DD98B52}" dt="2022-07-31T20:32:27.224" v="316" actId="26606"/>
          <ac:spMkLst>
            <pc:docMk/>
            <pc:sldMk cId="3641048382" sldId="2147471662"/>
            <ac:spMk id="10" creationId="{3B432D73-5C38-474F-AF96-A3228731BF36}"/>
          </ac:spMkLst>
        </pc:spChg>
        <pc:picChg chg="add mod">
          <ac:chgData name="Helen Bevan" userId="d6f13c06-4063-4f09-bcc3-ea714f02a623" providerId="ADAL" clId="{8F916BEB-5504-4695-B5B3-F11C9DD98B52}" dt="2022-07-31T20:32:39.398" v="317" actId="27614"/>
          <ac:picMkLst>
            <pc:docMk/>
            <pc:sldMk cId="3641048382" sldId="2147471662"/>
            <ac:picMk id="5" creationId="{65E04183-0F77-45EB-AF35-D2A2BE47D632}"/>
          </ac:picMkLst>
        </pc:picChg>
      </pc:sldChg>
      <pc:sldChg chg="addSp modSp new mod modClrScheme chgLayout">
        <pc:chgData name="Helen Bevan" userId="d6f13c06-4063-4f09-bcc3-ea714f02a623" providerId="ADAL" clId="{8F916BEB-5504-4695-B5B3-F11C9DD98B52}" dt="2022-07-31T20:36:24.542" v="409" actId="403"/>
        <pc:sldMkLst>
          <pc:docMk/>
          <pc:sldMk cId="456530485" sldId="2147471663"/>
        </pc:sldMkLst>
        <pc:spChg chg="add mod">
          <ac:chgData name="Helen Bevan" userId="d6f13c06-4063-4f09-bcc3-ea714f02a623" providerId="ADAL" clId="{8F916BEB-5504-4695-B5B3-F11C9DD98B52}" dt="2022-07-31T20:34:50.998" v="381" actId="207"/>
          <ac:spMkLst>
            <pc:docMk/>
            <pc:sldMk cId="456530485" sldId="2147471663"/>
            <ac:spMk id="2" creationId="{DD85040E-6BC8-43ED-8ADA-2ACABEB2BAC2}"/>
          </ac:spMkLst>
        </pc:spChg>
        <pc:spChg chg="add mod">
          <ac:chgData name="Helen Bevan" userId="d6f13c06-4063-4f09-bcc3-ea714f02a623" providerId="ADAL" clId="{8F916BEB-5504-4695-B5B3-F11C9DD98B52}" dt="2022-07-31T20:36:24.542" v="409" actId="403"/>
          <ac:spMkLst>
            <pc:docMk/>
            <pc:sldMk cId="456530485" sldId="2147471663"/>
            <ac:spMk id="3" creationId="{3ED53F0A-1661-4FDA-B078-DC379DFD9AA9}"/>
          </ac:spMkLst>
        </pc:spChg>
      </pc:sldChg>
      <pc:sldChg chg="add">
        <pc:chgData name="Helen Bevan" userId="d6f13c06-4063-4f09-bcc3-ea714f02a623" providerId="ADAL" clId="{8F916BEB-5504-4695-B5B3-F11C9DD98B52}" dt="2022-08-01T18:18:46.080" v="459"/>
        <pc:sldMkLst>
          <pc:docMk/>
          <pc:sldMk cId="2166672510" sldId="2147471664"/>
        </pc:sldMkLst>
      </pc:sldChg>
      <pc:sldChg chg="add del">
        <pc:chgData name="Helen Bevan" userId="d6f13c06-4063-4f09-bcc3-ea714f02a623" providerId="ADAL" clId="{8F916BEB-5504-4695-B5B3-F11C9DD98B52}" dt="2022-08-01T18:19:11.211" v="461"/>
        <pc:sldMkLst>
          <pc:docMk/>
          <pc:sldMk cId="1654696566" sldId="2147471665"/>
        </pc:sldMkLst>
      </pc:sldChg>
      <pc:sldMasterChg chg="del delSldLayout">
        <pc:chgData name="Helen Bevan" userId="d6f13c06-4063-4f09-bcc3-ea714f02a623" providerId="ADAL" clId="{8F916BEB-5504-4695-B5B3-F11C9DD98B52}" dt="2022-07-31T19:55:03.245" v="127" actId="47"/>
        <pc:sldMasterMkLst>
          <pc:docMk/>
          <pc:sldMasterMk cId="3977783881" sldId="2147483752"/>
        </pc:sldMasterMkLst>
        <pc:sldLayoutChg chg="del">
          <pc:chgData name="Helen Bevan" userId="d6f13c06-4063-4f09-bcc3-ea714f02a623" providerId="ADAL" clId="{8F916BEB-5504-4695-B5B3-F11C9DD98B52}" dt="2022-07-31T19:55:03.245" v="127" actId="47"/>
          <pc:sldLayoutMkLst>
            <pc:docMk/>
            <pc:sldMasterMk cId="3977783881" sldId="2147483752"/>
            <pc:sldLayoutMk cId="758859806" sldId="2147483753"/>
          </pc:sldLayoutMkLst>
        </pc:sldLayoutChg>
        <pc:sldLayoutChg chg="del">
          <pc:chgData name="Helen Bevan" userId="d6f13c06-4063-4f09-bcc3-ea714f02a623" providerId="ADAL" clId="{8F916BEB-5504-4695-B5B3-F11C9DD98B52}" dt="2022-07-31T19:55:03.245" v="127" actId="47"/>
          <pc:sldLayoutMkLst>
            <pc:docMk/>
            <pc:sldMasterMk cId="3977783881" sldId="2147483752"/>
            <pc:sldLayoutMk cId="572575312" sldId="2147483754"/>
          </pc:sldLayoutMkLst>
        </pc:sldLayoutChg>
        <pc:sldLayoutChg chg="del">
          <pc:chgData name="Helen Bevan" userId="d6f13c06-4063-4f09-bcc3-ea714f02a623" providerId="ADAL" clId="{8F916BEB-5504-4695-B5B3-F11C9DD98B52}" dt="2022-07-31T19:55:03.245" v="127" actId="47"/>
          <pc:sldLayoutMkLst>
            <pc:docMk/>
            <pc:sldMasterMk cId="3977783881" sldId="2147483752"/>
            <pc:sldLayoutMk cId="1745523722" sldId="2147483755"/>
          </pc:sldLayoutMkLst>
        </pc:sldLayoutChg>
        <pc:sldLayoutChg chg="del">
          <pc:chgData name="Helen Bevan" userId="d6f13c06-4063-4f09-bcc3-ea714f02a623" providerId="ADAL" clId="{8F916BEB-5504-4695-B5B3-F11C9DD98B52}" dt="2022-07-31T19:55:03.245" v="127" actId="47"/>
          <pc:sldLayoutMkLst>
            <pc:docMk/>
            <pc:sldMasterMk cId="3977783881" sldId="2147483752"/>
            <pc:sldLayoutMk cId="1950889353" sldId="2147483756"/>
          </pc:sldLayoutMkLst>
        </pc:sldLayoutChg>
        <pc:sldLayoutChg chg="del">
          <pc:chgData name="Helen Bevan" userId="d6f13c06-4063-4f09-bcc3-ea714f02a623" providerId="ADAL" clId="{8F916BEB-5504-4695-B5B3-F11C9DD98B52}" dt="2022-07-31T19:55:03.245" v="127" actId="47"/>
          <pc:sldLayoutMkLst>
            <pc:docMk/>
            <pc:sldMasterMk cId="3977783881" sldId="2147483752"/>
            <pc:sldLayoutMk cId="2502731902" sldId="2147483757"/>
          </pc:sldLayoutMkLst>
        </pc:sldLayoutChg>
        <pc:sldLayoutChg chg="del">
          <pc:chgData name="Helen Bevan" userId="d6f13c06-4063-4f09-bcc3-ea714f02a623" providerId="ADAL" clId="{8F916BEB-5504-4695-B5B3-F11C9DD98B52}" dt="2022-07-31T19:55:03.245" v="127" actId="47"/>
          <pc:sldLayoutMkLst>
            <pc:docMk/>
            <pc:sldMasterMk cId="3977783881" sldId="2147483752"/>
            <pc:sldLayoutMk cId="2493443401" sldId="2147483758"/>
          </pc:sldLayoutMkLst>
        </pc:sldLayoutChg>
        <pc:sldLayoutChg chg="del">
          <pc:chgData name="Helen Bevan" userId="d6f13c06-4063-4f09-bcc3-ea714f02a623" providerId="ADAL" clId="{8F916BEB-5504-4695-B5B3-F11C9DD98B52}" dt="2022-07-31T19:55:03.245" v="127" actId="47"/>
          <pc:sldLayoutMkLst>
            <pc:docMk/>
            <pc:sldMasterMk cId="3977783881" sldId="2147483752"/>
            <pc:sldLayoutMk cId="2279648597" sldId="2147483759"/>
          </pc:sldLayoutMkLst>
        </pc:sldLayoutChg>
        <pc:sldLayoutChg chg="del">
          <pc:chgData name="Helen Bevan" userId="d6f13c06-4063-4f09-bcc3-ea714f02a623" providerId="ADAL" clId="{8F916BEB-5504-4695-B5B3-F11C9DD98B52}" dt="2022-07-31T19:55:03.245" v="127" actId="47"/>
          <pc:sldLayoutMkLst>
            <pc:docMk/>
            <pc:sldMasterMk cId="3977783881" sldId="2147483752"/>
            <pc:sldLayoutMk cId="1513759210" sldId="2147483760"/>
          </pc:sldLayoutMkLst>
        </pc:sldLayoutChg>
        <pc:sldLayoutChg chg="del">
          <pc:chgData name="Helen Bevan" userId="d6f13c06-4063-4f09-bcc3-ea714f02a623" providerId="ADAL" clId="{8F916BEB-5504-4695-B5B3-F11C9DD98B52}" dt="2022-07-31T19:55:03.245" v="127" actId="47"/>
          <pc:sldLayoutMkLst>
            <pc:docMk/>
            <pc:sldMasterMk cId="3977783881" sldId="2147483752"/>
            <pc:sldLayoutMk cId="3416539189" sldId="2147483761"/>
          </pc:sldLayoutMkLst>
        </pc:sldLayoutChg>
        <pc:sldLayoutChg chg="del">
          <pc:chgData name="Helen Bevan" userId="d6f13c06-4063-4f09-bcc3-ea714f02a623" providerId="ADAL" clId="{8F916BEB-5504-4695-B5B3-F11C9DD98B52}" dt="2022-07-31T19:55:03.245" v="127" actId="47"/>
          <pc:sldLayoutMkLst>
            <pc:docMk/>
            <pc:sldMasterMk cId="3977783881" sldId="2147483752"/>
            <pc:sldLayoutMk cId="1605690712" sldId="2147483762"/>
          </pc:sldLayoutMkLst>
        </pc:sldLayoutChg>
        <pc:sldLayoutChg chg="del">
          <pc:chgData name="Helen Bevan" userId="d6f13c06-4063-4f09-bcc3-ea714f02a623" providerId="ADAL" clId="{8F916BEB-5504-4695-B5B3-F11C9DD98B52}" dt="2022-07-31T19:55:03.245" v="127" actId="47"/>
          <pc:sldLayoutMkLst>
            <pc:docMk/>
            <pc:sldMasterMk cId="3977783881" sldId="2147483752"/>
            <pc:sldLayoutMk cId="4256125627" sldId="2147483763"/>
          </pc:sldLayoutMkLst>
        </pc:sldLayoutChg>
      </pc:sldMasterChg>
    </pc:docChg>
  </pc:docChgLst>
  <pc:docChgLst>
    <pc:chgData name="Helen Bevan" userId="d6f13c06-4063-4f09-bcc3-ea714f02a623" providerId="ADAL" clId="{7EE11464-6499-4BD0-86DB-40A80E7763DB}"/>
    <pc:docChg chg="undo custSel addSld delSld modSld sldOrd">
      <pc:chgData name="Helen Bevan" userId="d6f13c06-4063-4f09-bcc3-ea714f02a623" providerId="ADAL" clId="{7EE11464-6499-4BD0-86DB-40A80E7763DB}" dt="2022-07-28T22:55:09.573" v="2346" actId="1076"/>
      <pc:docMkLst>
        <pc:docMk/>
      </pc:docMkLst>
      <pc:sldChg chg="modSp mod">
        <pc:chgData name="Helen Bevan" userId="d6f13c06-4063-4f09-bcc3-ea714f02a623" providerId="ADAL" clId="{7EE11464-6499-4BD0-86DB-40A80E7763DB}" dt="2022-07-28T22:55:09.573" v="2346" actId="1076"/>
        <pc:sldMkLst>
          <pc:docMk/>
          <pc:sldMk cId="548701832" sldId="256"/>
        </pc:sldMkLst>
        <pc:spChg chg="mod">
          <ac:chgData name="Helen Bevan" userId="d6f13c06-4063-4f09-bcc3-ea714f02a623" providerId="ADAL" clId="{7EE11464-6499-4BD0-86DB-40A80E7763DB}" dt="2022-07-28T22:55:09.573" v="2346" actId="1076"/>
          <ac:spMkLst>
            <pc:docMk/>
            <pc:sldMk cId="548701832" sldId="256"/>
            <ac:spMk id="8" creationId="{9408B0C4-2732-476F-8422-FE7BF7BFA0FE}"/>
          </ac:spMkLst>
        </pc:spChg>
      </pc:sldChg>
      <pc:sldChg chg="del">
        <pc:chgData name="Helen Bevan" userId="d6f13c06-4063-4f09-bcc3-ea714f02a623" providerId="ADAL" clId="{7EE11464-6499-4BD0-86DB-40A80E7763DB}" dt="2022-07-28T20:53:21.101" v="259" actId="47"/>
        <pc:sldMkLst>
          <pc:docMk/>
          <pc:sldMk cId="732298945" sldId="257"/>
        </pc:sldMkLst>
      </pc:sldChg>
      <pc:sldChg chg="modSp mod ord">
        <pc:chgData name="Helen Bevan" userId="d6f13c06-4063-4f09-bcc3-ea714f02a623" providerId="ADAL" clId="{7EE11464-6499-4BD0-86DB-40A80E7763DB}" dt="2022-07-28T21:42:08.428" v="1068" actId="20577"/>
        <pc:sldMkLst>
          <pc:docMk/>
          <pc:sldMk cId="3057072105" sldId="260"/>
        </pc:sldMkLst>
        <pc:spChg chg="mod">
          <ac:chgData name="Helen Bevan" userId="d6f13c06-4063-4f09-bcc3-ea714f02a623" providerId="ADAL" clId="{7EE11464-6499-4BD0-86DB-40A80E7763DB}" dt="2022-07-28T21:42:08.428" v="1068" actId="20577"/>
          <ac:spMkLst>
            <pc:docMk/>
            <pc:sldMk cId="3057072105" sldId="260"/>
            <ac:spMk id="2" creationId="{08551A2E-0B43-45C0-8258-6A8F874DBD0C}"/>
          </ac:spMkLst>
        </pc:spChg>
      </pc:sldChg>
      <pc:sldChg chg="add">
        <pc:chgData name="Helen Bevan" userId="d6f13c06-4063-4f09-bcc3-ea714f02a623" providerId="ADAL" clId="{7EE11464-6499-4BD0-86DB-40A80E7763DB}" dt="2022-07-28T22:45:17.484" v="2206"/>
        <pc:sldMkLst>
          <pc:docMk/>
          <pc:sldMk cId="1939924743" sldId="267"/>
        </pc:sldMkLst>
      </pc:sldChg>
      <pc:sldChg chg="add del">
        <pc:chgData name="Helen Bevan" userId="d6f13c06-4063-4f09-bcc3-ea714f02a623" providerId="ADAL" clId="{7EE11464-6499-4BD0-86DB-40A80E7763DB}" dt="2022-07-28T21:04:31.772" v="299"/>
        <pc:sldMkLst>
          <pc:docMk/>
          <pc:sldMk cId="525372541" sldId="338"/>
        </pc:sldMkLst>
      </pc:sldChg>
      <pc:sldChg chg="delSp del mod">
        <pc:chgData name="Helen Bevan" userId="d6f13c06-4063-4f09-bcc3-ea714f02a623" providerId="ADAL" clId="{7EE11464-6499-4BD0-86DB-40A80E7763DB}" dt="2022-07-28T20:53:42.641" v="261" actId="47"/>
        <pc:sldMkLst>
          <pc:docMk/>
          <pc:sldMk cId="603136342" sldId="354"/>
        </pc:sldMkLst>
        <pc:spChg chg="del">
          <ac:chgData name="Helen Bevan" userId="d6f13c06-4063-4f09-bcc3-ea714f02a623" providerId="ADAL" clId="{7EE11464-6499-4BD0-86DB-40A80E7763DB}" dt="2022-07-28T20:53:35.512" v="260" actId="478"/>
          <ac:spMkLst>
            <pc:docMk/>
            <pc:sldMk cId="603136342" sldId="354"/>
            <ac:spMk id="6" creationId="{00000000-0000-0000-0000-000000000000}"/>
          </ac:spMkLst>
        </pc:spChg>
      </pc:sldChg>
      <pc:sldChg chg="add del">
        <pc:chgData name="Helen Bevan" userId="d6f13c06-4063-4f09-bcc3-ea714f02a623" providerId="ADAL" clId="{7EE11464-6499-4BD0-86DB-40A80E7763DB}" dt="2022-07-28T21:04:31.772" v="299"/>
        <pc:sldMkLst>
          <pc:docMk/>
          <pc:sldMk cId="2175810339" sldId="371"/>
        </pc:sldMkLst>
      </pc:sldChg>
      <pc:sldChg chg="del">
        <pc:chgData name="Helen Bevan" userId="d6f13c06-4063-4f09-bcc3-ea714f02a623" providerId="ADAL" clId="{7EE11464-6499-4BD0-86DB-40A80E7763DB}" dt="2022-07-28T21:04:26.241" v="296" actId="47"/>
        <pc:sldMkLst>
          <pc:docMk/>
          <pc:sldMk cId="1205440599" sldId="373"/>
        </pc:sldMkLst>
      </pc:sldChg>
      <pc:sldChg chg="modSp add mod">
        <pc:chgData name="Helen Bevan" userId="d6f13c06-4063-4f09-bcc3-ea714f02a623" providerId="ADAL" clId="{7EE11464-6499-4BD0-86DB-40A80E7763DB}" dt="2022-07-28T22:41:47.826" v="2138" actId="20577"/>
        <pc:sldMkLst>
          <pc:docMk/>
          <pc:sldMk cId="435794183" sldId="419"/>
        </pc:sldMkLst>
        <pc:spChg chg="mod">
          <ac:chgData name="Helen Bevan" userId="d6f13c06-4063-4f09-bcc3-ea714f02a623" providerId="ADAL" clId="{7EE11464-6499-4BD0-86DB-40A80E7763DB}" dt="2022-07-28T22:39:34.994" v="1923" actId="207"/>
          <ac:spMkLst>
            <pc:docMk/>
            <pc:sldMk cId="435794183" sldId="419"/>
            <ac:spMk id="3" creationId="{00000000-0000-0000-0000-000000000000}"/>
          </ac:spMkLst>
        </pc:spChg>
        <pc:spChg chg="mod">
          <ac:chgData name="Helen Bevan" userId="d6f13c06-4063-4f09-bcc3-ea714f02a623" providerId="ADAL" clId="{7EE11464-6499-4BD0-86DB-40A80E7763DB}" dt="2022-07-28T22:41:47.826" v="2138" actId="20577"/>
          <ac:spMkLst>
            <pc:docMk/>
            <pc:sldMk cId="435794183" sldId="419"/>
            <ac:spMk id="4" creationId="{00000000-0000-0000-0000-000000000000}"/>
          </ac:spMkLst>
        </pc:spChg>
        <pc:picChg chg="mod">
          <ac:chgData name="Helen Bevan" userId="d6f13c06-4063-4f09-bcc3-ea714f02a623" providerId="ADAL" clId="{7EE11464-6499-4BD0-86DB-40A80E7763DB}" dt="2022-07-28T22:41:07.149" v="2123" actId="14100"/>
          <ac:picMkLst>
            <pc:docMk/>
            <pc:sldMk cId="435794183" sldId="419"/>
            <ac:picMk id="1026" creationId="{00000000-0000-0000-0000-000000000000}"/>
          </ac:picMkLst>
        </pc:picChg>
      </pc:sldChg>
      <pc:sldChg chg="add">
        <pc:chgData name="Helen Bevan" userId="d6f13c06-4063-4f09-bcc3-ea714f02a623" providerId="ADAL" clId="{7EE11464-6499-4BD0-86DB-40A80E7763DB}" dt="2022-07-28T20:02:37.673" v="98"/>
        <pc:sldMkLst>
          <pc:docMk/>
          <pc:sldMk cId="1954473091" sldId="574"/>
        </pc:sldMkLst>
      </pc:sldChg>
      <pc:sldChg chg="add">
        <pc:chgData name="Helen Bevan" userId="d6f13c06-4063-4f09-bcc3-ea714f02a623" providerId="ADAL" clId="{7EE11464-6499-4BD0-86DB-40A80E7763DB}" dt="2022-07-28T22:12:29.626" v="1381"/>
        <pc:sldMkLst>
          <pc:docMk/>
          <pc:sldMk cId="2034302946" sldId="575"/>
        </pc:sldMkLst>
      </pc:sldChg>
      <pc:sldChg chg="modSp add del mod">
        <pc:chgData name="Helen Bevan" userId="d6f13c06-4063-4f09-bcc3-ea714f02a623" providerId="ADAL" clId="{7EE11464-6499-4BD0-86DB-40A80E7763DB}" dt="2022-07-28T22:08:58.753" v="1377" actId="2696"/>
        <pc:sldMkLst>
          <pc:docMk/>
          <pc:sldMk cId="411828089" sldId="1017"/>
        </pc:sldMkLst>
        <pc:spChg chg="mod">
          <ac:chgData name="Helen Bevan" userId="d6f13c06-4063-4f09-bcc3-ea714f02a623" providerId="ADAL" clId="{7EE11464-6499-4BD0-86DB-40A80E7763DB}" dt="2022-07-28T21:20:08.591" v="722" actId="1076"/>
          <ac:spMkLst>
            <pc:docMk/>
            <pc:sldMk cId="411828089" sldId="1017"/>
            <ac:spMk id="3" creationId="{FCC7004B-3E88-4604-8C77-DD4CB42571D4}"/>
          </ac:spMkLst>
        </pc:spChg>
        <pc:spChg chg="mod">
          <ac:chgData name="Helen Bevan" userId="d6f13c06-4063-4f09-bcc3-ea714f02a623" providerId="ADAL" clId="{7EE11464-6499-4BD0-86DB-40A80E7763DB}" dt="2022-07-28T21:21:28.554" v="730" actId="1076"/>
          <ac:spMkLst>
            <pc:docMk/>
            <pc:sldMk cId="411828089" sldId="1017"/>
            <ac:spMk id="8" creationId="{C5F82517-9ADC-4271-B56B-993C8C64345B}"/>
          </ac:spMkLst>
        </pc:spChg>
        <pc:picChg chg="mod">
          <ac:chgData name="Helen Bevan" userId="d6f13c06-4063-4f09-bcc3-ea714f02a623" providerId="ADAL" clId="{7EE11464-6499-4BD0-86DB-40A80E7763DB}" dt="2022-07-28T21:21:29.404" v="731" actId="1076"/>
          <ac:picMkLst>
            <pc:docMk/>
            <pc:sldMk cId="411828089" sldId="1017"/>
            <ac:picMk id="1026" creationId="{57D2C7D7-8F29-429C-A134-39B9BB35A22B}"/>
          </ac:picMkLst>
        </pc:picChg>
      </pc:sldChg>
      <pc:sldChg chg="add">
        <pc:chgData name="Helen Bevan" userId="d6f13c06-4063-4f09-bcc3-ea714f02a623" providerId="ADAL" clId="{7EE11464-6499-4BD0-86DB-40A80E7763DB}" dt="2022-07-28T22:09:09.628" v="1378"/>
        <pc:sldMkLst>
          <pc:docMk/>
          <pc:sldMk cId="4089879507" sldId="1017"/>
        </pc:sldMkLst>
      </pc:sldChg>
      <pc:sldChg chg="ord">
        <pc:chgData name="Helen Bevan" userId="d6f13c06-4063-4f09-bcc3-ea714f02a623" providerId="ADAL" clId="{7EE11464-6499-4BD0-86DB-40A80E7763DB}" dt="2022-07-28T22:09:43.042" v="1380"/>
        <pc:sldMkLst>
          <pc:docMk/>
          <pc:sldMk cId="2013764534" sldId="1039"/>
        </pc:sldMkLst>
      </pc:sldChg>
      <pc:sldChg chg="modSp add del mod">
        <pc:chgData name="Helen Bevan" userId="d6f13c06-4063-4f09-bcc3-ea714f02a623" providerId="ADAL" clId="{7EE11464-6499-4BD0-86DB-40A80E7763DB}" dt="2022-07-28T22:08:58.753" v="1377" actId="2696"/>
        <pc:sldMkLst>
          <pc:docMk/>
          <pc:sldMk cId="2734331533" sldId="1055"/>
        </pc:sldMkLst>
        <pc:spChg chg="mod">
          <ac:chgData name="Helen Bevan" userId="d6f13c06-4063-4f09-bcc3-ea714f02a623" providerId="ADAL" clId="{7EE11464-6499-4BD0-86DB-40A80E7763DB}" dt="2022-07-28T21:39:20.185" v="1028" actId="20577"/>
          <ac:spMkLst>
            <pc:docMk/>
            <pc:sldMk cId="2734331533" sldId="1055"/>
            <ac:spMk id="4" creationId="{A5CEAB58-0EB2-4B4B-A1CF-6B102A9A48BE}"/>
          </ac:spMkLst>
        </pc:spChg>
        <pc:spChg chg="mod">
          <ac:chgData name="Helen Bevan" userId="d6f13c06-4063-4f09-bcc3-ea714f02a623" providerId="ADAL" clId="{7EE11464-6499-4BD0-86DB-40A80E7763DB}" dt="2022-07-28T21:38:27.468" v="1004" actId="113"/>
          <ac:spMkLst>
            <pc:docMk/>
            <pc:sldMk cId="2734331533" sldId="1055"/>
            <ac:spMk id="5" creationId="{00C0E4AB-3ED4-4189-8BA2-625369B594C2}"/>
          </ac:spMkLst>
        </pc:spChg>
        <pc:spChg chg="mod">
          <ac:chgData name="Helen Bevan" userId="d6f13c06-4063-4f09-bcc3-ea714f02a623" providerId="ADAL" clId="{7EE11464-6499-4BD0-86DB-40A80E7763DB}" dt="2022-07-28T21:38:13.840" v="1000" actId="114"/>
          <ac:spMkLst>
            <pc:docMk/>
            <pc:sldMk cId="2734331533" sldId="1055"/>
            <ac:spMk id="8" creationId="{6B4DAD61-AB92-4163-8602-962CEA505E4B}"/>
          </ac:spMkLst>
        </pc:spChg>
        <pc:spChg chg="mod">
          <ac:chgData name="Helen Bevan" userId="d6f13c06-4063-4f09-bcc3-ea714f02a623" providerId="ADAL" clId="{7EE11464-6499-4BD0-86DB-40A80E7763DB}" dt="2022-07-28T21:25:02.494" v="738" actId="1076"/>
          <ac:spMkLst>
            <pc:docMk/>
            <pc:sldMk cId="2734331533" sldId="1055"/>
            <ac:spMk id="9" creationId="{87F83BD8-63EF-4F92-B325-7097C729357D}"/>
          </ac:spMkLst>
        </pc:spChg>
      </pc:sldChg>
      <pc:sldChg chg="add">
        <pc:chgData name="Helen Bevan" userId="d6f13c06-4063-4f09-bcc3-ea714f02a623" providerId="ADAL" clId="{7EE11464-6499-4BD0-86DB-40A80E7763DB}" dt="2022-07-28T22:09:09.628" v="1378"/>
        <pc:sldMkLst>
          <pc:docMk/>
          <pc:sldMk cId="3758374082" sldId="1055"/>
        </pc:sldMkLst>
      </pc:sldChg>
      <pc:sldChg chg="add">
        <pc:chgData name="Helen Bevan" userId="d6f13c06-4063-4f09-bcc3-ea714f02a623" providerId="ADAL" clId="{7EE11464-6499-4BD0-86DB-40A80E7763DB}" dt="2022-07-28T20:00:37.035" v="97"/>
        <pc:sldMkLst>
          <pc:docMk/>
          <pc:sldMk cId="228373466" sldId="1057"/>
        </pc:sldMkLst>
      </pc:sldChg>
      <pc:sldChg chg="delSp modSp del mod">
        <pc:chgData name="Helen Bevan" userId="d6f13c06-4063-4f09-bcc3-ea714f02a623" providerId="ADAL" clId="{7EE11464-6499-4BD0-86DB-40A80E7763DB}" dt="2022-07-28T22:08:58.753" v="1377" actId="2696"/>
        <pc:sldMkLst>
          <pc:docMk/>
          <pc:sldMk cId="144850939" sldId="1058"/>
        </pc:sldMkLst>
        <pc:spChg chg="mod">
          <ac:chgData name="Helen Bevan" userId="d6f13c06-4063-4f09-bcc3-ea714f02a623" providerId="ADAL" clId="{7EE11464-6499-4BD0-86DB-40A80E7763DB}" dt="2022-07-28T21:41:44.806" v="1059" actId="207"/>
          <ac:spMkLst>
            <pc:docMk/>
            <pc:sldMk cId="144850939" sldId="1058"/>
            <ac:spMk id="4" creationId="{8A64FCE1-A7CA-4E76-9DF6-4B6AED1185D6}"/>
          </ac:spMkLst>
        </pc:spChg>
        <pc:spChg chg="del">
          <ac:chgData name="Helen Bevan" userId="d6f13c06-4063-4f09-bcc3-ea714f02a623" providerId="ADAL" clId="{7EE11464-6499-4BD0-86DB-40A80E7763DB}" dt="2022-07-28T21:39:31.568" v="1029" actId="478"/>
          <ac:spMkLst>
            <pc:docMk/>
            <pc:sldMk cId="144850939" sldId="1058"/>
            <ac:spMk id="5" creationId="{CB880E8F-06F5-4759-B146-B9D5F07A83A0}"/>
          </ac:spMkLst>
        </pc:spChg>
        <pc:spChg chg="del">
          <ac:chgData name="Helen Bevan" userId="d6f13c06-4063-4f09-bcc3-ea714f02a623" providerId="ADAL" clId="{7EE11464-6499-4BD0-86DB-40A80E7763DB}" dt="2022-07-28T21:41:05.518" v="1046" actId="478"/>
          <ac:spMkLst>
            <pc:docMk/>
            <pc:sldMk cId="144850939" sldId="1058"/>
            <ac:spMk id="6" creationId="{0354F9D5-6A52-487C-BD9D-3224DFFA8524}"/>
          </ac:spMkLst>
        </pc:spChg>
        <pc:spChg chg="mod">
          <ac:chgData name="Helen Bevan" userId="d6f13c06-4063-4f09-bcc3-ea714f02a623" providerId="ADAL" clId="{7EE11464-6499-4BD0-86DB-40A80E7763DB}" dt="2022-07-28T21:41:26.858" v="1054" actId="1076"/>
          <ac:spMkLst>
            <pc:docMk/>
            <pc:sldMk cId="144850939" sldId="1058"/>
            <ac:spMk id="7" creationId="{0B683853-8E77-4A77-B359-FBD28216D9CE}"/>
          </ac:spMkLst>
        </pc:spChg>
        <pc:picChg chg="mod">
          <ac:chgData name="Helen Bevan" userId="d6f13c06-4063-4f09-bcc3-ea714f02a623" providerId="ADAL" clId="{7EE11464-6499-4BD0-86DB-40A80E7763DB}" dt="2022-07-28T21:41:23.410" v="1053" actId="1076"/>
          <ac:picMkLst>
            <pc:docMk/>
            <pc:sldMk cId="144850939" sldId="1058"/>
            <ac:picMk id="3" creationId="{95DB101F-398A-4604-ACCA-6E18080E112F}"/>
          </ac:picMkLst>
        </pc:picChg>
      </pc:sldChg>
      <pc:sldChg chg="add">
        <pc:chgData name="Helen Bevan" userId="d6f13c06-4063-4f09-bcc3-ea714f02a623" providerId="ADAL" clId="{7EE11464-6499-4BD0-86DB-40A80E7763DB}" dt="2022-07-28T22:09:09.628" v="1378"/>
        <pc:sldMkLst>
          <pc:docMk/>
          <pc:sldMk cId="3873726088" sldId="1058"/>
        </pc:sldMkLst>
      </pc:sldChg>
      <pc:sldChg chg="modSp mod">
        <pc:chgData name="Helen Bevan" userId="d6f13c06-4063-4f09-bcc3-ea714f02a623" providerId="ADAL" clId="{7EE11464-6499-4BD0-86DB-40A80E7763DB}" dt="2022-07-28T21:02:38.967" v="295" actId="20577"/>
        <pc:sldMkLst>
          <pc:docMk/>
          <pc:sldMk cId="1050321035" sldId="1079"/>
        </pc:sldMkLst>
        <pc:spChg chg="mod">
          <ac:chgData name="Helen Bevan" userId="d6f13c06-4063-4f09-bcc3-ea714f02a623" providerId="ADAL" clId="{7EE11464-6499-4BD0-86DB-40A80E7763DB}" dt="2022-07-28T21:02:38.967" v="295" actId="20577"/>
          <ac:spMkLst>
            <pc:docMk/>
            <pc:sldMk cId="1050321035" sldId="1079"/>
            <ac:spMk id="3" creationId="{FD6AAEFC-E824-448B-A2C4-0BB466544E5C}"/>
          </ac:spMkLst>
        </pc:spChg>
      </pc:sldChg>
      <pc:sldChg chg="add">
        <pc:chgData name="Helen Bevan" userId="d6f13c06-4063-4f09-bcc3-ea714f02a623" providerId="ADAL" clId="{7EE11464-6499-4BD0-86DB-40A80E7763DB}" dt="2022-07-28T21:04:31.772" v="299"/>
        <pc:sldMkLst>
          <pc:docMk/>
          <pc:sldMk cId="2352456873" sldId="1099"/>
        </pc:sldMkLst>
      </pc:sldChg>
      <pc:sldChg chg="modSp add mod">
        <pc:chgData name="Helen Bevan" userId="d6f13c06-4063-4f09-bcc3-ea714f02a623" providerId="ADAL" clId="{7EE11464-6499-4BD0-86DB-40A80E7763DB}" dt="2022-07-28T22:43:45.305" v="2205" actId="20577"/>
        <pc:sldMkLst>
          <pc:docMk/>
          <pc:sldMk cId="3765944357" sldId="4128"/>
        </pc:sldMkLst>
        <pc:spChg chg="mod">
          <ac:chgData name="Helen Bevan" userId="d6f13c06-4063-4f09-bcc3-ea714f02a623" providerId="ADAL" clId="{7EE11464-6499-4BD0-86DB-40A80E7763DB}" dt="2022-07-28T22:43:45.305" v="2205" actId="20577"/>
          <ac:spMkLst>
            <pc:docMk/>
            <pc:sldMk cId="3765944357" sldId="4128"/>
            <ac:spMk id="4" creationId="{3E63105C-8A4C-41D5-BFFB-E6248213665D}"/>
          </ac:spMkLst>
        </pc:spChg>
      </pc:sldChg>
      <pc:sldChg chg="modSp">
        <pc:chgData name="Helen Bevan" userId="d6f13c06-4063-4f09-bcc3-ea714f02a623" providerId="ADAL" clId="{7EE11464-6499-4BD0-86DB-40A80E7763DB}" dt="2022-07-28T19:36:34.796" v="96" actId="14100"/>
        <pc:sldMkLst>
          <pc:docMk/>
          <pc:sldMk cId="3354565255" sldId="17188"/>
        </pc:sldMkLst>
        <pc:picChg chg="mod">
          <ac:chgData name="Helen Bevan" userId="d6f13c06-4063-4f09-bcc3-ea714f02a623" providerId="ADAL" clId="{7EE11464-6499-4BD0-86DB-40A80E7763DB}" dt="2022-07-28T19:36:34.796" v="96" actId="14100"/>
          <ac:picMkLst>
            <pc:docMk/>
            <pc:sldMk cId="3354565255" sldId="17188"/>
            <ac:picMk id="1026" creationId="{9760D635-AB58-4B9C-8237-4D6B5E95294A}"/>
          </ac:picMkLst>
        </pc:picChg>
      </pc:sldChg>
      <pc:sldChg chg="addSp modSp new del mod modClrScheme chgLayout">
        <pc:chgData name="Helen Bevan" userId="d6f13c06-4063-4f09-bcc3-ea714f02a623" providerId="ADAL" clId="{7EE11464-6499-4BD0-86DB-40A80E7763DB}" dt="2022-07-28T21:10:15.188" v="393" actId="47"/>
        <pc:sldMkLst>
          <pc:docMk/>
          <pc:sldMk cId="9316137" sldId="17189"/>
        </pc:sldMkLst>
        <pc:spChg chg="add mod">
          <ac:chgData name="Helen Bevan" userId="d6f13c06-4063-4f09-bcc3-ea714f02a623" providerId="ADAL" clId="{7EE11464-6499-4BD0-86DB-40A80E7763DB}" dt="2022-07-28T19:24:21.381" v="95" actId="20577"/>
          <ac:spMkLst>
            <pc:docMk/>
            <pc:sldMk cId="9316137" sldId="17189"/>
            <ac:spMk id="2" creationId="{7E3979A1-B386-41DC-A127-D0CCD62C4D80}"/>
          </ac:spMkLst>
        </pc:spChg>
        <pc:spChg chg="add mod">
          <ac:chgData name="Helen Bevan" userId="d6f13c06-4063-4f09-bcc3-ea714f02a623" providerId="ADAL" clId="{7EE11464-6499-4BD0-86DB-40A80E7763DB}" dt="2022-07-28T19:23:16.814" v="1" actId="700"/>
          <ac:spMkLst>
            <pc:docMk/>
            <pc:sldMk cId="9316137" sldId="17189"/>
            <ac:spMk id="3" creationId="{3907E752-4EC7-46A4-95E9-EC29C1A12D19}"/>
          </ac:spMkLst>
        </pc:spChg>
      </pc:sldChg>
      <pc:sldChg chg="add">
        <pc:chgData name="Helen Bevan" userId="d6f13c06-4063-4f09-bcc3-ea714f02a623" providerId="ADAL" clId="{7EE11464-6499-4BD0-86DB-40A80E7763DB}" dt="2022-07-28T21:04:31.772" v="299"/>
        <pc:sldMkLst>
          <pc:docMk/>
          <pc:sldMk cId="3628484433" sldId="17259"/>
        </pc:sldMkLst>
      </pc:sldChg>
      <pc:sldChg chg="add">
        <pc:chgData name="Helen Bevan" userId="d6f13c06-4063-4f09-bcc3-ea714f02a623" providerId="ADAL" clId="{7EE11464-6499-4BD0-86DB-40A80E7763DB}" dt="2022-07-28T20:02:37.673" v="98"/>
        <pc:sldMkLst>
          <pc:docMk/>
          <pc:sldMk cId="1717194782" sldId="17289"/>
        </pc:sldMkLst>
      </pc:sldChg>
      <pc:sldChg chg="add del">
        <pc:chgData name="Helen Bevan" userId="d6f13c06-4063-4f09-bcc3-ea714f02a623" providerId="ADAL" clId="{7EE11464-6499-4BD0-86DB-40A80E7763DB}" dt="2022-07-28T20:02:48.331" v="99" actId="47"/>
        <pc:sldMkLst>
          <pc:docMk/>
          <pc:sldMk cId="4086470199" sldId="17294"/>
        </pc:sldMkLst>
      </pc:sldChg>
      <pc:sldChg chg="add">
        <pc:chgData name="Helen Bevan" userId="d6f13c06-4063-4f09-bcc3-ea714f02a623" providerId="ADAL" clId="{7EE11464-6499-4BD0-86DB-40A80E7763DB}" dt="2022-07-28T20:02:37.673" v="98"/>
        <pc:sldMkLst>
          <pc:docMk/>
          <pc:sldMk cId="4256892099" sldId="17295"/>
        </pc:sldMkLst>
      </pc:sldChg>
      <pc:sldChg chg="modSp add mod">
        <pc:chgData name="Helen Bevan" userId="d6f13c06-4063-4f09-bcc3-ea714f02a623" providerId="ADAL" clId="{7EE11464-6499-4BD0-86DB-40A80E7763DB}" dt="2022-07-28T22:19:23.693" v="1384" actId="207"/>
        <pc:sldMkLst>
          <pc:docMk/>
          <pc:sldMk cId="2510209739" sldId="2145707544"/>
        </pc:sldMkLst>
        <pc:spChg chg="mod">
          <ac:chgData name="Helen Bevan" userId="d6f13c06-4063-4f09-bcc3-ea714f02a623" providerId="ADAL" clId="{7EE11464-6499-4BD0-86DB-40A80E7763DB}" dt="2022-07-28T22:19:14.679" v="1383" actId="207"/>
          <ac:spMkLst>
            <pc:docMk/>
            <pc:sldMk cId="2510209739" sldId="2145707544"/>
            <ac:spMk id="3" creationId="{00000000-0000-0000-0000-000000000000}"/>
          </ac:spMkLst>
        </pc:spChg>
        <pc:spChg chg="mod">
          <ac:chgData name="Helen Bevan" userId="d6f13c06-4063-4f09-bcc3-ea714f02a623" providerId="ADAL" clId="{7EE11464-6499-4BD0-86DB-40A80E7763DB}" dt="2022-07-28T22:19:23.693" v="1384" actId="207"/>
          <ac:spMkLst>
            <pc:docMk/>
            <pc:sldMk cId="2510209739" sldId="2145707544"/>
            <ac:spMk id="7" creationId="{00000000-0000-0000-0000-000000000000}"/>
          </ac:spMkLst>
        </pc:spChg>
      </pc:sldChg>
      <pc:sldChg chg="delSp mod">
        <pc:chgData name="Helen Bevan" userId="d6f13c06-4063-4f09-bcc3-ea714f02a623" providerId="ADAL" clId="{7EE11464-6499-4BD0-86DB-40A80E7763DB}" dt="2022-07-28T22:06:59.124" v="1373" actId="478"/>
        <pc:sldMkLst>
          <pc:docMk/>
          <pc:sldMk cId="3331966337" sldId="2145707689"/>
        </pc:sldMkLst>
        <pc:spChg chg="del">
          <ac:chgData name="Helen Bevan" userId="d6f13c06-4063-4f09-bcc3-ea714f02a623" providerId="ADAL" clId="{7EE11464-6499-4BD0-86DB-40A80E7763DB}" dt="2022-07-28T22:06:57.778" v="1372" actId="478"/>
          <ac:spMkLst>
            <pc:docMk/>
            <pc:sldMk cId="3331966337" sldId="2145707689"/>
            <ac:spMk id="8" creationId="{E1254D03-8039-4D55-ADE1-E65E489235BD}"/>
          </ac:spMkLst>
        </pc:spChg>
        <pc:picChg chg="del">
          <ac:chgData name="Helen Bevan" userId="d6f13c06-4063-4f09-bcc3-ea714f02a623" providerId="ADAL" clId="{7EE11464-6499-4BD0-86DB-40A80E7763DB}" dt="2022-07-28T22:06:59.124" v="1373" actId="478"/>
          <ac:picMkLst>
            <pc:docMk/>
            <pc:sldMk cId="3331966337" sldId="2145707689"/>
            <ac:picMk id="6" creationId="{60B0A4D0-8F62-4CC9-B1A0-09F76CD8AD42}"/>
          </ac:picMkLst>
        </pc:picChg>
      </pc:sldChg>
      <pc:sldChg chg="add">
        <pc:chgData name="Helen Bevan" userId="d6f13c06-4063-4f09-bcc3-ea714f02a623" providerId="ADAL" clId="{7EE11464-6499-4BD0-86DB-40A80E7763DB}" dt="2022-07-28T20:04:27.607" v="100"/>
        <pc:sldMkLst>
          <pc:docMk/>
          <pc:sldMk cId="2342053765" sldId="2147471545"/>
        </pc:sldMkLst>
      </pc:sldChg>
      <pc:sldChg chg="add">
        <pc:chgData name="Helen Bevan" userId="d6f13c06-4063-4f09-bcc3-ea714f02a623" providerId="ADAL" clId="{7EE11464-6499-4BD0-86DB-40A80E7763DB}" dt="2022-07-28T20:04:27.607" v="100"/>
        <pc:sldMkLst>
          <pc:docMk/>
          <pc:sldMk cId="3937365266" sldId="2147471577"/>
        </pc:sldMkLst>
      </pc:sldChg>
      <pc:sldChg chg="add">
        <pc:chgData name="Helen Bevan" userId="d6f13c06-4063-4f09-bcc3-ea714f02a623" providerId="ADAL" clId="{7EE11464-6499-4BD0-86DB-40A80E7763DB}" dt="2022-07-28T20:04:27.607" v="100"/>
        <pc:sldMkLst>
          <pc:docMk/>
          <pc:sldMk cId="1762193364" sldId="2147471578"/>
        </pc:sldMkLst>
      </pc:sldChg>
      <pc:sldChg chg="addSp modSp mod">
        <pc:chgData name="Helen Bevan" userId="d6f13c06-4063-4f09-bcc3-ea714f02a623" providerId="ADAL" clId="{7EE11464-6499-4BD0-86DB-40A80E7763DB}" dt="2022-07-28T22:54:23.668" v="2344" actId="14100"/>
        <pc:sldMkLst>
          <pc:docMk/>
          <pc:sldMk cId="1954278326" sldId="2147471631"/>
        </pc:sldMkLst>
        <pc:spChg chg="add mod">
          <ac:chgData name="Helen Bevan" userId="d6f13c06-4063-4f09-bcc3-ea714f02a623" providerId="ADAL" clId="{7EE11464-6499-4BD0-86DB-40A80E7763DB}" dt="2022-07-28T22:54:23.668" v="2344" actId="14100"/>
          <ac:spMkLst>
            <pc:docMk/>
            <pc:sldMk cId="1954278326" sldId="2147471631"/>
            <ac:spMk id="3" creationId="{7CE18ED7-E6A1-4F59-A806-7CD7DE288246}"/>
          </ac:spMkLst>
        </pc:spChg>
        <pc:spChg chg="mod">
          <ac:chgData name="Helen Bevan" userId="d6f13c06-4063-4f09-bcc3-ea714f02a623" providerId="ADAL" clId="{7EE11464-6499-4BD0-86DB-40A80E7763DB}" dt="2022-07-28T21:02:22.514" v="294" actId="1076"/>
          <ac:spMkLst>
            <pc:docMk/>
            <pc:sldMk cId="1954278326" sldId="2147471631"/>
            <ac:spMk id="4" creationId="{FA897A1B-2269-4756-93AE-B6E6A6B096CE}"/>
          </ac:spMkLst>
        </pc:spChg>
      </pc:sldChg>
      <pc:sldChg chg="modSp mod">
        <pc:chgData name="Helen Bevan" userId="d6f13c06-4063-4f09-bcc3-ea714f02a623" providerId="ADAL" clId="{7EE11464-6499-4BD0-86DB-40A80E7763DB}" dt="2022-07-28T21:06:17.353" v="361" actId="1076"/>
        <pc:sldMkLst>
          <pc:docMk/>
          <pc:sldMk cId="1622989501" sldId="2147471643"/>
        </pc:sldMkLst>
        <pc:spChg chg="mod">
          <ac:chgData name="Helen Bevan" userId="d6f13c06-4063-4f09-bcc3-ea714f02a623" providerId="ADAL" clId="{7EE11464-6499-4BD0-86DB-40A80E7763DB}" dt="2022-07-28T21:06:17.353" v="361" actId="1076"/>
          <ac:spMkLst>
            <pc:docMk/>
            <pc:sldMk cId="1622989501" sldId="2147471643"/>
            <ac:spMk id="2" creationId="{577B7135-65FE-A433-9BAA-B846C0E02664}"/>
          </ac:spMkLst>
        </pc:spChg>
      </pc:sldChg>
      <pc:sldChg chg="del">
        <pc:chgData name="Helen Bevan" userId="d6f13c06-4063-4f09-bcc3-ea714f02a623" providerId="ADAL" clId="{7EE11464-6499-4BD0-86DB-40A80E7763DB}" dt="2022-07-28T22:07:21.198" v="1374" actId="2696"/>
        <pc:sldMkLst>
          <pc:docMk/>
          <pc:sldMk cId="1714187251" sldId="2147471644"/>
        </pc:sldMkLst>
      </pc:sldChg>
      <pc:sldChg chg="modSp mod">
        <pc:chgData name="Helen Bevan" userId="d6f13c06-4063-4f09-bcc3-ea714f02a623" providerId="ADAL" clId="{7EE11464-6499-4BD0-86DB-40A80E7763DB}" dt="2022-07-28T21:07:44.602" v="390" actId="1037"/>
        <pc:sldMkLst>
          <pc:docMk/>
          <pc:sldMk cId="3053656106" sldId="2147471645"/>
        </pc:sldMkLst>
        <pc:spChg chg="mod">
          <ac:chgData name="Helen Bevan" userId="d6f13c06-4063-4f09-bcc3-ea714f02a623" providerId="ADAL" clId="{7EE11464-6499-4BD0-86DB-40A80E7763DB}" dt="2022-07-28T21:06:57.491" v="367" actId="20577"/>
          <ac:spMkLst>
            <pc:docMk/>
            <pc:sldMk cId="3053656106" sldId="2147471645"/>
            <ac:spMk id="23" creationId="{E95F787A-9194-4FB2-8DA7-3541158D86E4}"/>
          </ac:spMkLst>
        </pc:spChg>
        <pc:spChg chg="mod">
          <ac:chgData name="Helen Bevan" userId="d6f13c06-4063-4f09-bcc3-ea714f02a623" providerId="ADAL" clId="{7EE11464-6499-4BD0-86DB-40A80E7763DB}" dt="2022-07-28T21:07:05.444" v="373" actId="20577"/>
          <ac:spMkLst>
            <pc:docMk/>
            <pc:sldMk cId="3053656106" sldId="2147471645"/>
            <ac:spMk id="29" creationId="{C5C198E2-B8CB-4A72-92AD-FF04BBD2F01C}"/>
          </ac:spMkLst>
        </pc:spChg>
        <pc:spChg chg="mod">
          <ac:chgData name="Helen Bevan" userId="d6f13c06-4063-4f09-bcc3-ea714f02a623" providerId="ADAL" clId="{7EE11464-6499-4BD0-86DB-40A80E7763DB}" dt="2022-07-28T21:07:44.602" v="390" actId="1037"/>
          <ac:spMkLst>
            <pc:docMk/>
            <pc:sldMk cId="3053656106" sldId="2147471645"/>
            <ac:spMk id="31" creationId="{00A98C77-0EA8-4D25-9137-1635DA95C775}"/>
          </ac:spMkLst>
        </pc:spChg>
      </pc:sldChg>
      <pc:sldChg chg="addSp delSp modSp new del mod modClrScheme chgLayout">
        <pc:chgData name="Helen Bevan" userId="d6f13c06-4063-4f09-bcc3-ea714f02a623" providerId="ADAL" clId="{7EE11464-6499-4BD0-86DB-40A80E7763DB}" dt="2022-07-28T21:21:36.900" v="732" actId="47"/>
        <pc:sldMkLst>
          <pc:docMk/>
          <pc:sldMk cId="2311702944" sldId="2147471646"/>
        </pc:sldMkLst>
        <pc:spChg chg="del">
          <ac:chgData name="Helen Bevan" userId="d6f13c06-4063-4f09-bcc3-ea714f02a623" providerId="ADAL" clId="{7EE11464-6499-4BD0-86DB-40A80E7763DB}" dt="2022-07-28T20:21:38.684" v="102" actId="700"/>
          <ac:spMkLst>
            <pc:docMk/>
            <pc:sldMk cId="2311702944" sldId="2147471646"/>
            <ac:spMk id="2" creationId="{736CD380-B11C-41D6-B5FD-24F7C37D13E8}"/>
          </ac:spMkLst>
        </pc:spChg>
        <pc:spChg chg="del">
          <ac:chgData name="Helen Bevan" userId="d6f13c06-4063-4f09-bcc3-ea714f02a623" providerId="ADAL" clId="{7EE11464-6499-4BD0-86DB-40A80E7763DB}" dt="2022-07-28T20:21:38.684" v="102" actId="700"/>
          <ac:spMkLst>
            <pc:docMk/>
            <pc:sldMk cId="2311702944" sldId="2147471646"/>
            <ac:spMk id="3" creationId="{14AC2636-FAD7-4205-80A1-561527E92829}"/>
          </ac:spMkLst>
        </pc:spChg>
        <pc:spChg chg="add mod">
          <ac:chgData name="Helen Bevan" userId="d6f13c06-4063-4f09-bcc3-ea714f02a623" providerId="ADAL" clId="{7EE11464-6499-4BD0-86DB-40A80E7763DB}" dt="2022-07-28T21:13:29.077" v="400" actId="207"/>
          <ac:spMkLst>
            <pc:docMk/>
            <pc:sldMk cId="2311702944" sldId="2147471646"/>
            <ac:spMk id="5" creationId="{052A91C9-CDA3-4444-A9EF-7F3F860FE047}"/>
          </ac:spMkLst>
        </pc:spChg>
      </pc:sldChg>
      <pc:sldChg chg="addSp modSp new del mod">
        <pc:chgData name="Helen Bevan" userId="d6f13c06-4063-4f09-bcc3-ea714f02a623" providerId="ADAL" clId="{7EE11464-6499-4BD0-86DB-40A80E7763DB}" dt="2022-07-28T20:49:35.521" v="195" actId="47"/>
        <pc:sldMkLst>
          <pc:docMk/>
          <pc:sldMk cId="3414577553" sldId="2147471647"/>
        </pc:sldMkLst>
        <pc:spChg chg="add mod">
          <ac:chgData name="Helen Bevan" userId="d6f13c06-4063-4f09-bcc3-ea714f02a623" providerId="ADAL" clId="{7EE11464-6499-4BD0-86DB-40A80E7763DB}" dt="2022-07-28T20:42:15.096" v="160" actId="20577"/>
          <ac:spMkLst>
            <pc:docMk/>
            <pc:sldMk cId="3414577553" sldId="2147471647"/>
            <ac:spMk id="3" creationId="{A5B9FCFF-407C-4C2D-85F8-0E5211FC57D7}"/>
          </ac:spMkLst>
        </pc:spChg>
      </pc:sldChg>
      <pc:sldChg chg="addSp modSp new del mod">
        <pc:chgData name="Helen Bevan" userId="d6f13c06-4063-4f09-bcc3-ea714f02a623" providerId="ADAL" clId="{7EE11464-6499-4BD0-86DB-40A80E7763DB}" dt="2022-07-28T21:42:00.005" v="1062" actId="47"/>
        <pc:sldMkLst>
          <pc:docMk/>
          <pc:sldMk cId="3608474732" sldId="2147471648"/>
        </pc:sldMkLst>
        <pc:spChg chg="add mod">
          <ac:chgData name="Helen Bevan" userId="d6f13c06-4063-4f09-bcc3-ea714f02a623" providerId="ADAL" clId="{7EE11464-6499-4BD0-86DB-40A80E7763DB}" dt="2022-07-28T21:24:39.472" v="733" actId="207"/>
          <ac:spMkLst>
            <pc:docMk/>
            <pc:sldMk cId="3608474732" sldId="2147471648"/>
            <ac:spMk id="3" creationId="{3BADF37F-D08A-46F7-83A3-FD98FF108257}"/>
          </ac:spMkLst>
        </pc:spChg>
        <pc:spChg chg="add mod">
          <ac:chgData name="Helen Bevan" userId="d6f13c06-4063-4f09-bcc3-ea714f02a623" providerId="ADAL" clId="{7EE11464-6499-4BD0-86DB-40A80E7763DB}" dt="2022-07-28T21:40:51.901" v="1045" actId="21"/>
          <ac:spMkLst>
            <pc:docMk/>
            <pc:sldMk cId="3608474732" sldId="2147471648"/>
            <ac:spMk id="5" creationId="{58674BAC-1E49-4723-B73F-EAA0769130D8}"/>
          </ac:spMkLst>
        </pc:spChg>
        <pc:spChg chg="add mod">
          <ac:chgData name="Helen Bevan" userId="d6f13c06-4063-4f09-bcc3-ea714f02a623" providerId="ADAL" clId="{7EE11464-6499-4BD0-86DB-40A80E7763DB}" dt="2022-07-28T20:28:44.091" v="159"/>
          <ac:spMkLst>
            <pc:docMk/>
            <pc:sldMk cId="3608474732" sldId="2147471648"/>
            <ac:spMk id="6" creationId="{52B9EE20-F14B-4BF7-B088-447934A1AC06}"/>
          </ac:spMkLst>
        </pc:spChg>
      </pc:sldChg>
      <pc:sldChg chg="addSp delSp modSp new del mod">
        <pc:chgData name="Helen Bevan" userId="d6f13c06-4063-4f09-bcc3-ea714f02a623" providerId="ADAL" clId="{7EE11464-6499-4BD0-86DB-40A80E7763DB}" dt="2022-07-28T21:51:14.607" v="1269" actId="47"/>
        <pc:sldMkLst>
          <pc:docMk/>
          <pc:sldMk cId="4073969922" sldId="2147471649"/>
        </pc:sldMkLst>
        <pc:spChg chg="add del">
          <ac:chgData name="Helen Bevan" userId="d6f13c06-4063-4f09-bcc3-ea714f02a623" providerId="ADAL" clId="{7EE11464-6499-4BD0-86DB-40A80E7763DB}" dt="2022-07-28T20:46:39.777" v="163" actId="478"/>
          <ac:spMkLst>
            <pc:docMk/>
            <pc:sldMk cId="4073969922" sldId="2147471649"/>
            <ac:spMk id="2" creationId="{9EFEF5B5-08B6-4E04-91C6-6DEBC0B868B4}"/>
          </ac:spMkLst>
        </pc:spChg>
        <pc:spChg chg="add del">
          <ac:chgData name="Helen Bevan" userId="d6f13c06-4063-4f09-bcc3-ea714f02a623" providerId="ADAL" clId="{7EE11464-6499-4BD0-86DB-40A80E7763DB}" dt="2022-07-28T20:46:39.777" v="163" actId="478"/>
          <ac:spMkLst>
            <pc:docMk/>
            <pc:sldMk cId="4073969922" sldId="2147471649"/>
            <ac:spMk id="3" creationId="{3A43B092-3363-4820-9F04-6093B6B7FCA1}"/>
          </ac:spMkLst>
        </pc:spChg>
        <pc:spChg chg="add del">
          <ac:chgData name="Helen Bevan" userId="d6f13c06-4063-4f09-bcc3-ea714f02a623" providerId="ADAL" clId="{7EE11464-6499-4BD0-86DB-40A80E7763DB}" dt="2022-07-28T20:46:39.777" v="163" actId="478"/>
          <ac:spMkLst>
            <pc:docMk/>
            <pc:sldMk cId="4073969922" sldId="2147471649"/>
            <ac:spMk id="4" creationId="{7A0CA9A0-CF97-417B-A81D-3D53D1CF45E2}"/>
          </ac:spMkLst>
        </pc:spChg>
        <pc:spChg chg="add del">
          <ac:chgData name="Helen Bevan" userId="d6f13c06-4063-4f09-bcc3-ea714f02a623" providerId="ADAL" clId="{7EE11464-6499-4BD0-86DB-40A80E7763DB}" dt="2022-07-28T20:46:39.777" v="163" actId="478"/>
          <ac:spMkLst>
            <pc:docMk/>
            <pc:sldMk cId="4073969922" sldId="2147471649"/>
            <ac:spMk id="5" creationId="{86FB4D60-2064-4A63-9856-20ED062D5871}"/>
          </ac:spMkLst>
        </pc:spChg>
        <pc:spChg chg="add mod">
          <ac:chgData name="Helen Bevan" userId="d6f13c06-4063-4f09-bcc3-ea714f02a623" providerId="ADAL" clId="{7EE11464-6499-4BD0-86DB-40A80E7763DB}" dt="2022-07-28T20:48:27.796" v="194" actId="20577"/>
          <ac:spMkLst>
            <pc:docMk/>
            <pc:sldMk cId="4073969922" sldId="2147471649"/>
            <ac:spMk id="8" creationId="{6054F42D-FB04-40BA-A111-D08D6035FAA4}"/>
          </ac:spMkLst>
        </pc:spChg>
        <pc:picChg chg="add del">
          <ac:chgData name="Helen Bevan" userId="d6f13c06-4063-4f09-bcc3-ea714f02a623" providerId="ADAL" clId="{7EE11464-6499-4BD0-86DB-40A80E7763DB}" dt="2022-07-28T20:46:39.777" v="163" actId="478"/>
          <ac:picMkLst>
            <pc:docMk/>
            <pc:sldMk cId="4073969922" sldId="2147471649"/>
            <ac:picMk id="1029" creationId="{F8344B05-5B0C-4621-BD23-8CEE37313E48}"/>
          </ac:picMkLst>
        </pc:picChg>
      </pc:sldChg>
      <pc:sldChg chg="addSp delSp modSp new mod ord modClrScheme chgLayout">
        <pc:chgData name="Helen Bevan" userId="d6f13c06-4063-4f09-bcc3-ea714f02a623" providerId="ADAL" clId="{7EE11464-6499-4BD0-86DB-40A80E7763DB}" dt="2022-07-28T22:08:36.514" v="1376"/>
        <pc:sldMkLst>
          <pc:docMk/>
          <pc:sldMk cId="2040492808" sldId="2147471650"/>
        </pc:sldMkLst>
        <pc:spChg chg="add mod ord">
          <ac:chgData name="Helen Bevan" userId="d6f13c06-4063-4f09-bcc3-ea714f02a623" providerId="ADAL" clId="{7EE11464-6499-4BD0-86DB-40A80E7763DB}" dt="2022-07-28T22:04:47.897" v="1342" actId="20577"/>
          <ac:spMkLst>
            <pc:docMk/>
            <pc:sldMk cId="2040492808" sldId="2147471650"/>
            <ac:spMk id="3" creationId="{255FE4DA-B970-4862-8F2A-2D26E37E6545}"/>
          </ac:spMkLst>
        </pc:spChg>
        <pc:spChg chg="add">
          <ac:chgData name="Helen Bevan" userId="d6f13c06-4063-4f09-bcc3-ea714f02a623" providerId="ADAL" clId="{7EE11464-6499-4BD0-86DB-40A80E7763DB}" dt="2022-07-28T22:02:30.456" v="1316"/>
          <ac:spMkLst>
            <pc:docMk/>
            <pc:sldMk cId="2040492808" sldId="2147471650"/>
            <ac:spMk id="4" creationId="{F6F22959-B0F7-448E-B1B7-DD31E9D31370}"/>
          </ac:spMkLst>
        </pc:spChg>
        <pc:spChg chg="add mod ord">
          <ac:chgData name="Helen Bevan" userId="d6f13c06-4063-4f09-bcc3-ea714f02a623" providerId="ADAL" clId="{7EE11464-6499-4BD0-86DB-40A80E7763DB}" dt="2022-07-28T22:05:46.610" v="1367" actId="20577"/>
          <ac:spMkLst>
            <pc:docMk/>
            <pc:sldMk cId="2040492808" sldId="2147471650"/>
            <ac:spMk id="8" creationId="{AF3FAD9C-6159-46F4-AF2D-D47CFC44C535}"/>
          </ac:spMkLst>
        </pc:spChg>
        <pc:spChg chg="add mod">
          <ac:chgData name="Helen Bevan" userId="d6f13c06-4063-4f09-bcc3-ea714f02a623" providerId="ADAL" clId="{7EE11464-6499-4BD0-86DB-40A80E7763DB}" dt="2022-07-28T22:05:51.662" v="1368" actId="1076"/>
          <ac:spMkLst>
            <pc:docMk/>
            <pc:sldMk cId="2040492808" sldId="2147471650"/>
            <ac:spMk id="9" creationId="{257792E6-784E-4DBC-B64E-E64585D12BD3}"/>
          </ac:spMkLst>
        </pc:spChg>
        <pc:spChg chg="add del mod ord">
          <ac:chgData name="Helen Bevan" userId="d6f13c06-4063-4f09-bcc3-ea714f02a623" providerId="ADAL" clId="{7EE11464-6499-4BD0-86DB-40A80E7763DB}" dt="2022-07-28T22:06:01.443" v="1370" actId="478"/>
          <ac:spMkLst>
            <pc:docMk/>
            <pc:sldMk cId="2040492808" sldId="2147471650"/>
            <ac:spMk id="10" creationId="{1FBAB718-66EA-4BFC-8F11-D9DA87723F15}"/>
          </ac:spMkLst>
        </pc:spChg>
        <pc:picChg chg="add del mod">
          <ac:chgData name="Helen Bevan" userId="d6f13c06-4063-4f09-bcc3-ea714f02a623" providerId="ADAL" clId="{7EE11464-6499-4BD0-86DB-40A80E7763DB}" dt="2022-07-28T22:06:08.078" v="1371" actId="1076"/>
          <ac:picMkLst>
            <pc:docMk/>
            <pc:sldMk cId="2040492808" sldId="2147471650"/>
            <ac:picMk id="6" creationId="{5616E628-C41E-4D1B-89B0-984429878A10}"/>
          </ac:picMkLst>
        </pc:picChg>
        <pc:picChg chg="add del mod">
          <ac:chgData name="Helen Bevan" userId="d6f13c06-4063-4f09-bcc3-ea714f02a623" providerId="ADAL" clId="{7EE11464-6499-4BD0-86DB-40A80E7763DB}" dt="2022-07-28T22:03:30.500" v="1319" actId="478"/>
          <ac:picMkLst>
            <pc:docMk/>
            <pc:sldMk cId="2040492808" sldId="2147471650"/>
            <ac:picMk id="3076" creationId="{0E45401A-9C6D-47FB-AC93-BEE3CD2899F2}"/>
          </ac:picMkLst>
        </pc:picChg>
      </pc:sldChg>
      <pc:sldChg chg="addSp modSp new del mod modClrScheme chgLayout">
        <pc:chgData name="Helen Bevan" userId="d6f13c06-4063-4f09-bcc3-ea714f02a623" providerId="ADAL" clId="{7EE11464-6499-4BD0-86DB-40A80E7763DB}" dt="2022-07-28T21:01:55.294" v="293" actId="47"/>
        <pc:sldMkLst>
          <pc:docMk/>
          <pc:sldMk cId="706706983" sldId="2147471651"/>
        </pc:sldMkLst>
        <pc:spChg chg="add mod">
          <ac:chgData name="Helen Bevan" userId="d6f13c06-4063-4f09-bcc3-ea714f02a623" providerId="ADAL" clId="{7EE11464-6499-4BD0-86DB-40A80E7763DB}" dt="2022-07-28T20:57:03.797" v="290" actId="20577"/>
          <ac:spMkLst>
            <pc:docMk/>
            <pc:sldMk cId="706706983" sldId="2147471651"/>
            <ac:spMk id="2" creationId="{FD76F547-937F-4480-844A-5DA324D3BD2E}"/>
          </ac:spMkLst>
        </pc:spChg>
        <pc:spChg chg="add mod">
          <ac:chgData name="Helen Bevan" userId="d6f13c06-4063-4f09-bcc3-ea714f02a623" providerId="ADAL" clId="{7EE11464-6499-4BD0-86DB-40A80E7763DB}" dt="2022-07-28T20:57:59.940" v="292" actId="27636"/>
          <ac:spMkLst>
            <pc:docMk/>
            <pc:sldMk cId="706706983" sldId="2147471651"/>
            <ac:spMk id="3" creationId="{417B74BD-3F06-411C-AB3C-0201BF2EF0BF}"/>
          </ac:spMkLst>
        </pc:spChg>
      </pc:sldChg>
      <pc:sldChg chg="addSp delSp modSp new del mod ord modClrScheme chgLayout">
        <pc:chgData name="Helen Bevan" userId="d6f13c06-4063-4f09-bcc3-ea714f02a623" providerId="ADAL" clId="{7EE11464-6499-4BD0-86DB-40A80E7763DB}" dt="2022-07-28T22:08:58.753" v="1377" actId="2696"/>
        <pc:sldMkLst>
          <pc:docMk/>
          <pc:sldMk cId="1420513460" sldId="2147471651"/>
        </pc:sldMkLst>
        <pc:spChg chg="add mod">
          <ac:chgData name="Helen Bevan" userId="d6f13c06-4063-4f09-bcc3-ea714f02a623" providerId="ADAL" clId="{7EE11464-6499-4BD0-86DB-40A80E7763DB}" dt="2022-07-28T21:32:53.115" v="900" actId="207"/>
          <ac:spMkLst>
            <pc:docMk/>
            <pc:sldMk cId="1420513460" sldId="2147471651"/>
            <ac:spMk id="2" creationId="{9E20F04D-29D2-41B1-AB64-396AA87186E7}"/>
          </ac:spMkLst>
        </pc:spChg>
        <pc:spChg chg="add mod">
          <ac:chgData name="Helen Bevan" userId="d6f13c06-4063-4f09-bcc3-ea714f02a623" providerId="ADAL" clId="{7EE11464-6499-4BD0-86DB-40A80E7763DB}" dt="2022-07-28T21:35:58.320" v="984" actId="20577"/>
          <ac:spMkLst>
            <pc:docMk/>
            <pc:sldMk cId="1420513460" sldId="2147471651"/>
            <ac:spMk id="3" creationId="{2101CFFA-9E28-4DBF-B70C-9F1E92024A4E}"/>
          </ac:spMkLst>
        </pc:spChg>
        <pc:spChg chg="add mod">
          <ac:chgData name="Helen Bevan" userId="d6f13c06-4063-4f09-bcc3-ea714f02a623" providerId="ADAL" clId="{7EE11464-6499-4BD0-86DB-40A80E7763DB}" dt="2022-07-28T21:48:24.494" v="1129" actId="14100"/>
          <ac:spMkLst>
            <pc:docMk/>
            <pc:sldMk cId="1420513460" sldId="2147471651"/>
            <ac:spMk id="5" creationId="{83070108-08AD-46B7-B817-4D9720BBC433}"/>
          </ac:spMkLst>
        </pc:spChg>
        <pc:spChg chg="add del mod">
          <ac:chgData name="Helen Bevan" userId="d6f13c06-4063-4f09-bcc3-ea714f02a623" providerId="ADAL" clId="{7EE11464-6499-4BD0-86DB-40A80E7763DB}" dt="2022-07-28T21:49:00.695" v="1130" actId="478"/>
          <ac:spMkLst>
            <pc:docMk/>
            <pc:sldMk cId="1420513460" sldId="2147471651"/>
            <ac:spMk id="7" creationId="{FB150AA4-2DA4-4F4D-858F-CD78563CAAB5}"/>
          </ac:spMkLst>
        </pc:spChg>
      </pc:sldChg>
      <pc:sldChg chg="add">
        <pc:chgData name="Helen Bevan" userId="d6f13c06-4063-4f09-bcc3-ea714f02a623" providerId="ADAL" clId="{7EE11464-6499-4BD0-86DB-40A80E7763DB}" dt="2022-07-28T22:09:09.628" v="1378"/>
        <pc:sldMkLst>
          <pc:docMk/>
          <pc:sldMk cId="2577346773" sldId="2147471651"/>
        </pc:sldMkLst>
      </pc:sldChg>
      <pc:sldChg chg="addSp modSp add mod">
        <pc:chgData name="Helen Bevan" userId="d6f13c06-4063-4f09-bcc3-ea714f02a623" providerId="ADAL" clId="{7EE11464-6499-4BD0-86DB-40A80E7763DB}" dt="2022-07-28T21:50:57.435" v="1268" actId="1076"/>
        <pc:sldMkLst>
          <pc:docMk/>
          <pc:sldMk cId="3812590573" sldId="2147471652"/>
        </pc:sldMkLst>
        <pc:spChg chg="mod">
          <ac:chgData name="Helen Bevan" userId="d6f13c06-4063-4f09-bcc3-ea714f02a623" providerId="ADAL" clId="{7EE11464-6499-4BD0-86DB-40A80E7763DB}" dt="2022-07-28T21:43:36.735" v="1070" actId="207"/>
          <ac:spMkLst>
            <pc:docMk/>
            <pc:sldMk cId="3812590573" sldId="2147471652"/>
            <ac:spMk id="3" creationId="{588E96EF-8462-41A7-B137-74A8D956A642}"/>
          </ac:spMkLst>
        </pc:spChg>
        <pc:spChg chg="add mod">
          <ac:chgData name="Helen Bevan" userId="d6f13c06-4063-4f09-bcc3-ea714f02a623" providerId="ADAL" clId="{7EE11464-6499-4BD0-86DB-40A80E7763DB}" dt="2022-07-28T21:50:57.435" v="1268" actId="1076"/>
          <ac:spMkLst>
            <pc:docMk/>
            <pc:sldMk cId="3812590573" sldId="2147471652"/>
            <ac:spMk id="4" creationId="{B68F8BA9-6354-4053-AA99-19C3D4119992}"/>
          </ac:spMkLst>
        </pc:spChg>
      </pc:sldChg>
      <pc:sldChg chg="addSp delSp modSp new mod ord modClrScheme chgLayout">
        <pc:chgData name="Helen Bevan" userId="d6f13c06-4063-4f09-bcc3-ea714f02a623" providerId="ADAL" clId="{7EE11464-6499-4BD0-86DB-40A80E7763DB}" dt="2022-07-28T22:09:43.042" v="1380"/>
        <pc:sldMkLst>
          <pc:docMk/>
          <pc:sldMk cId="132222400" sldId="2147471653"/>
        </pc:sldMkLst>
        <pc:spChg chg="del">
          <ac:chgData name="Helen Bevan" userId="d6f13c06-4063-4f09-bcc3-ea714f02a623" providerId="ADAL" clId="{7EE11464-6499-4BD0-86DB-40A80E7763DB}" dt="2022-07-28T21:58:31.757" v="1271" actId="700"/>
          <ac:spMkLst>
            <pc:docMk/>
            <pc:sldMk cId="132222400" sldId="2147471653"/>
            <ac:spMk id="2" creationId="{616AAF44-8EBE-45F1-AB1F-FB35E6B793EC}"/>
          </ac:spMkLst>
        </pc:spChg>
        <pc:spChg chg="del">
          <ac:chgData name="Helen Bevan" userId="d6f13c06-4063-4f09-bcc3-ea714f02a623" providerId="ADAL" clId="{7EE11464-6499-4BD0-86DB-40A80E7763DB}" dt="2022-07-28T21:58:31.757" v="1271" actId="700"/>
          <ac:spMkLst>
            <pc:docMk/>
            <pc:sldMk cId="132222400" sldId="2147471653"/>
            <ac:spMk id="3" creationId="{074EC6BE-53C0-4CF9-B6FB-45B0B3D56028}"/>
          </ac:spMkLst>
        </pc:spChg>
        <pc:spChg chg="add mod">
          <ac:chgData name="Helen Bevan" userId="d6f13c06-4063-4f09-bcc3-ea714f02a623" providerId="ADAL" clId="{7EE11464-6499-4BD0-86DB-40A80E7763DB}" dt="2022-07-28T22:00:55.516" v="1313" actId="1076"/>
          <ac:spMkLst>
            <pc:docMk/>
            <pc:sldMk cId="132222400" sldId="2147471653"/>
            <ac:spMk id="4" creationId="{E3B0BD4E-59B2-4D8B-B808-2B0CDB5BE773}"/>
          </ac:spMkLst>
        </pc:spChg>
        <pc:picChg chg="add mod">
          <ac:chgData name="Helen Bevan" userId="d6f13c06-4063-4f09-bcc3-ea714f02a623" providerId="ADAL" clId="{7EE11464-6499-4BD0-86DB-40A80E7763DB}" dt="2022-07-28T22:00:59.996" v="1314" actId="1076"/>
          <ac:picMkLst>
            <pc:docMk/>
            <pc:sldMk cId="132222400" sldId="2147471653"/>
            <ac:picMk id="6" creationId="{F0FAC4AF-1B48-4B24-9721-FAF3169BF84B}"/>
          </ac:picMkLst>
        </pc:picChg>
        <pc:picChg chg="add del mod">
          <ac:chgData name="Helen Bevan" userId="d6f13c06-4063-4f09-bcc3-ea714f02a623" providerId="ADAL" clId="{7EE11464-6499-4BD0-86DB-40A80E7763DB}" dt="2022-07-28T22:00:33.146" v="1305" actId="478"/>
          <ac:picMkLst>
            <pc:docMk/>
            <pc:sldMk cId="132222400" sldId="2147471653"/>
            <ac:picMk id="2050" creationId="{F2318C93-684B-4D0B-87E2-780D4C7A9A90}"/>
          </ac:picMkLst>
        </pc:picChg>
      </pc:sldChg>
      <pc:sldChg chg="modSp new mod">
        <pc:chgData name="Helen Bevan" userId="d6f13c06-4063-4f09-bcc3-ea714f02a623" providerId="ADAL" clId="{7EE11464-6499-4BD0-86DB-40A80E7763DB}" dt="2022-07-28T22:22:13.274" v="1501" actId="20577"/>
        <pc:sldMkLst>
          <pc:docMk/>
          <pc:sldMk cId="2673906486" sldId="2147471654"/>
        </pc:sldMkLst>
        <pc:spChg chg="mod">
          <ac:chgData name="Helen Bevan" userId="d6f13c06-4063-4f09-bcc3-ea714f02a623" providerId="ADAL" clId="{7EE11464-6499-4BD0-86DB-40A80E7763DB}" dt="2022-07-28T22:21:44.696" v="1487" actId="1076"/>
          <ac:spMkLst>
            <pc:docMk/>
            <pc:sldMk cId="2673906486" sldId="2147471654"/>
            <ac:spMk id="2" creationId="{172624A5-6D92-4359-9556-9A78CCA2FD0C}"/>
          </ac:spMkLst>
        </pc:spChg>
        <pc:spChg chg="mod">
          <ac:chgData name="Helen Bevan" userId="d6f13c06-4063-4f09-bcc3-ea714f02a623" providerId="ADAL" clId="{7EE11464-6499-4BD0-86DB-40A80E7763DB}" dt="2022-07-28T22:22:13.274" v="1501" actId="20577"/>
          <ac:spMkLst>
            <pc:docMk/>
            <pc:sldMk cId="2673906486" sldId="2147471654"/>
            <ac:spMk id="3" creationId="{9A94CC7C-20DD-4184-8601-58AB0A6E60A0}"/>
          </ac:spMkLst>
        </pc:spChg>
      </pc:sldChg>
      <pc:sldChg chg="addSp modSp new mod">
        <pc:chgData name="Helen Bevan" userId="d6f13c06-4063-4f09-bcc3-ea714f02a623" providerId="ADAL" clId="{7EE11464-6499-4BD0-86DB-40A80E7763DB}" dt="2022-07-28T22:28:55.808" v="1526" actId="207"/>
        <pc:sldMkLst>
          <pc:docMk/>
          <pc:sldMk cId="2352346354" sldId="2147471655"/>
        </pc:sldMkLst>
        <pc:spChg chg="mod">
          <ac:chgData name="Helen Bevan" userId="d6f13c06-4063-4f09-bcc3-ea714f02a623" providerId="ADAL" clId="{7EE11464-6499-4BD0-86DB-40A80E7763DB}" dt="2022-07-28T22:28:55.808" v="1526" actId="207"/>
          <ac:spMkLst>
            <pc:docMk/>
            <pc:sldMk cId="2352346354" sldId="2147471655"/>
            <ac:spMk id="2" creationId="{A15CFE03-FF03-49C2-9801-DACFA6BDBFE6}"/>
          </ac:spMkLst>
        </pc:spChg>
        <pc:picChg chg="add mod">
          <ac:chgData name="Helen Bevan" userId="d6f13c06-4063-4f09-bcc3-ea714f02a623" providerId="ADAL" clId="{7EE11464-6499-4BD0-86DB-40A80E7763DB}" dt="2022-07-28T22:28:26.593" v="1506" actId="14100"/>
          <ac:picMkLst>
            <pc:docMk/>
            <pc:sldMk cId="2352346354" sldId="2147471655"/>
            <ac:picMk id="5" creationId="{DC4D134D-FEE7-4D5F-BB03-20EDA8665865}"/>
          </ac:picMkLst>
        </pc:picChg>
      </pc:sldChg>
      <pc:sldChg chg="addSp modSp new mod">
        <pc:chgData name="Helen Bevan" userId="d6f13c06-4063-4f09-bcc3-ea714f02a623" providerId="ADAL" clId="{7EE11464-6499-4BD0-86DB-40A80E7763DB}" dt="2022-07-28T22:33:08.084" v="1560" actId="122"/>
        <pc:sldMkLst>
          <pc:docMk/>
          <pc:sldMk cId="2992497942" sldId="2147471656"/>
        </pc:sldMkLst>
        <pc:spChg chg="mod">
          <ac:chgData name="Helen Bevan" userId="d6f13c06-4063-4f09-bcc3-ea714f02a623" providerId="ADAL" clId="{7EE11464-6499-4BD0-86DB-40A80E7763DB}" dt="2022-07-28T22:33:08.084" v="1560" actId="122"/>
          <ac:spMkLst>
            <pc:docMk/>
            <pc:sldMk cId="2992497942" sldId="2147471656"/>
            <ac:spMk id="2" creationId="{60AB93EC-BF35-4236-BCD6-2CE027BABB16}"/>
          </ac:spMkLst>
        </pc:spChg>
        <pc:picChg chg="add mod">
          <ac:chgData name="Helen Bevan" userId="d6f13c06-4063-4f09-bcc3-ea714f02a623" providerId="ADAL" clId="{7EE11464-6499-4BD0-86DB-40A80E7763DB}" dt="2022-07-28T22:32:37.350" v="1530" actId="1076"/>
          <ac:picMkLst>
            <pc:docMk/>
            <pc:sldMk cId="2992497942" sldId="2147471656"/>
            <ac:picMk id="4" creationId="{FCC2BBBF-6D31-44DD-B613-FD8F2B0DFD2F}"/>
          </ac:picMkLst>
        </pc:picChg>
      </pc:sldChg>
      <pc:sldChg chg="modSp new mod">
        <pc:chgData name="Helen Bevan" userId="d6f13c06-4063-4f09-bcc3-ea714f02a623" providerId="ADAL" clId="{7EE11464-6499-4BD0-86DB-40A80E7763DB}" dt="2022-07-28T22:46:11.973" v="2279" actId="5793"/>
        <pc:sldMkLst>
          <pc:docMk/>
          <pc:sldMk cId="3832624158" sldId="2147471657"/>
        </pc:sldMkLst>
        <pc:spChg chg="mod">
          <ac:chgData name="Helen Bevan" userId="d6f13c06-4063-4f09-bcc3-ea714f02a623" providerId="ADAL" clId="{7EE11464-6499-4BD0-86DB-40A80E7763DB}" dt="2022-07-28T22:33:26.599" v="1573" actId="20577"/>
          <ac:spMkLst>
            <pc:docMk/>
            <pc:sldMk cId="3832624158" sldId="2147471657"/>
            <ac:spMk id="2" creationId="{F49E8B02-791B-4FFE-B8FF-852B9AD04B28}"/>
          </ac:spMkLst>
        </pc:spChg>
        <pc:spChg chg="mod">
          <ac:chgData name="Helen Bevan" userId="d6f13c06-4063-4f09-bcc3-ea714f02a623" providerId="ADAL" clId="{7EE11464-6499-4BD0-86DB-40A80E7763DB}" dt="2022-07-28T22:46:11.973" v="2279" actId="5793"/>
          <ac:spMkLst>
            <pc:docMk/>
            <pc:sldMk cId="3832624158" sldId="2147471657"/>
            <ac:spMk id="3" creationId="{3B794B38-0F14-4F0F-B734-DC3BBE6D1CD8}"/>
          </ac:spMkLst>
        </pc:spChg>
      </pc:sldChg>
      <pc:sldMasterChg chg="delSldLayout">
        <pc:chgData name="Helen Bevan" userId="d6f13c06-4063-4f09-bcc3-ea714f02a623" providerId="ADAL" clId="{7EE11464-6499-4BD0-86DB-40A80E7763DB}" dt="2022-07-28T20:53:42.641" v="261" actId="47"/>
        <pc:sldMasterMkLst>
          <pc:docMk/>
          <pc:sldMasterMk cId="1006686542" sldId="2147483698"/>
        </pc:sldMasterMkLst>
        <pc:sldLayoutChg chg="del">
          <pc:chgData name="Helen Bevan" userId="d6f13c06-4063-4f09-bcc3-ea714f02a623" providerId="ADAL" clId="{7EE11464-6499-4BD0-86DB-40A80E7763DB}" dt="2022-07-28T20:53:42.641" v="261" actId="47"/>
          <pc:sldLayoutMkLst>
            <pc:docMk/>
            <pc:sldMasterMk cId="1006686542" sldId="2147483698"/>
            <pc:sldLayoutMk cId="2593869870" sldId="2147483701"/>
          </pc:sldLayoutMkLst>
        </pc:sldLayoutChg>
      </pc:sldMasterChg>
    </pc:docChg>
  </pc:docChgLst>
  <pc:docChgLst>
    <pc:chgData name="BEVAN, Helen (NHS ENGLAND – X24)" userId="5afa6422-8cdd-49e5-8179-d8d1f0ca9640" providerId="ADAL" clId="{7EE11464-6499-4BD0-86DB-40A80E7763DB}"/>
    <pc:docChg chg="custSel modSld">
      <pc:chgData name="BEVAN, Helen (NHS ENGLAND – X24)" userId="5afa6422-8cdd-49e5-8179-d8d1f0ca9640" providerId="ADAL" clId="{7EE11464-6499-4BD0-86DB-40A80E7763DB}" dt="2022-07-29T00:09:42.393" v="65" actId="14100"/>
      <pc:docMkLst>
        <pc:docMk/>
      </pc:docMkLst>
      <pc:sldChg chg="modSp mod">
        <pc:chgData name="BEVAN, Helen (NHS ENGLAND – X24)" userId="5afa6422-8cdd-49e5-8179-d8d1f0ca9640" providerId="ADAL" clId="{7EE11464-6499-4BD0-86DB-40A80E7763DB}" dt="2022-07-29T00:09:42.393" v="65" actId="14100"/>
        <pc:sldMkLst>
          <pc:docMk/>
          <pc:sldMk cId="3832624158" sldId="2147471657"/>
        </pc:sldMkLst>
        <pc:spChg chg="mod">
          <ac:chgData name="BEVAN, Helen (NHS ENGLAND – X24)" userId="5afa6422-8cdd-49e5-8179-d8d1f0ca9640" providerId="ADAL" clId="{7EE11464-6499-4BD0-86DB-40A80E7763DB}" dt="2022-07-29T00:09:42.393" v="65" actId="14100"/>
          <ac:spMkLst>
            <pc:docMk/>
            <pc:sldMk cId="3832624158" sldId="2147471657"/>
            <ac:spMk id="3" creationId="{3B794B38-0F14-4F0F-B734-DC3BBE6D1CD8}"/>
          </ac:spMkLst>
        </pc:spChg>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2-08T12:40:36.655"/>
    </inkml:context>
    <inkml:brush xml:id="br0">
      <inkml:brushProperty name="width" value="0.1" units="cm"/>
      <inkml:brushProperty name="height" value="0.2" units="cm"/>
      <inkml:brushProperty name="color" value="#4472C4"/>
      <inkml:brushProperty name="tip" value="rectangle"/>
      <inkml:brushProperty name="rasterOp" value="maskPen"/>
      <inkml:brushProperty name="ignorePressure" value="1"/>
    </inkml:brush>
  </inkml:definitions>
  <inkml:trace contextRef="#ctx0" brushRef="#br0">19479 13589,'959'0,"-756"-12,-137-3,69-49,-125 57,0-1,0 0,0-5,0 1,1-1,-2-3,1-5,-1 6,0-7,0 1,-2-4,2 2,13-56,-13 42,1 5,0-1,0-2,1 3,-1 8,3-4,11-23,-1 15,0 7,2 0,-2 4,45-21,100 5,3-9,-148 39,0-1,0-9,-1 0,1-4,35-62,82-189,-137 269,0-1,0-2,0 3,1-1,-2-6,1 7,0-5,-1 4,0-5,0 1,1-1,-1 1,-1-1,2-16,2-15,-2 3,-1-5,3-48,0-26,3 26,0-1,1 5,21-145,15-131,-37 262,-1 1,-2-1,-1 2,-1-6,-2 6,0-6,-5-117,1 125,-3-2,-1 3,-1 3,-21-179,11 107,1-2,-3 5,-32-201,46 333,-2 0,1 0,0 4,-1 1,-1-1,1 4,-1 0,-12-27,17 42,-7-23,0-3,1-5,0 3,0-3,1-3,-12-72,2 12,-30-160,-77-381,93 489,-77-274,67 291,16 57,2-5,0-8,1 1,-20-112,16 36,2-7,-20-201,21 172,-33-210,17 189,-59-266,-63-188,39 221,104 398,1 4,-1 5,-1 2,0 3,-28-42,37 72,-1 3,-1 1,1 3,-1 3,-20-9,-72 17,75 4,-439 9,16-1,247 21,-37-1,-486-86,696 43,-1-7,0-5,-51-60,61 62,0 0,-49-12,-50 26,78 10,-343 1,-133-4,5-119,477 107,-517-284,227 97,-315-96,144 180,-2 105,482 10,-493-62,105 10,-833 39,648 21,416-12,-504 58,191 21,2-71,457-4,-203-62,31-5,-431 59,323 16,101-3,-288-18,4-155,308 64,-217-15,-366 115,376 12,-573-8,538 83,337-58,48-14,-1 10,0 8,-69 77,-291 253,380-338,-265 231,146-121,132-123,0 5,-1-1,2-1,-1 11,0-5,1 2,0 6,0 0,1 0,0 4,-13 41,-57 259,-130 696,180-859,2 1,2 7,-26 238,-127 1029,149-1231,-4-7,-2-7,-1-1,-83 311,-203 598,249-870,-112 446,141-503,-132 576,15 47,140-698,18-77,-1 0,1 0,0 4,1-4,0 2,-1 2,2 0,-4 50,4-14,1 1,0 125,7 837,-6-987,1-3,-1-1,2 0,-1 5,1-5,2-1,-1-3,0 4,2 1,-1-5,1 0,0-1,1 1,0 0,0-4,1 0,0 0,1-1,0-2,-1-1,1-2,1-2,0 0,14 20,-1-5,2-7,-1 0,1-8,-1 0,33 8,13 12,9 13,4 3,119 136,-111-81,112 90,164-13,15 9,-180-30,-99-74,199 88,137-169,-268-21,558 3,-667-7,0-9,76-60,-50 23,847-321,1 267,457 112,-551 9,1169-9,-1662-90,-100 7,465 58,-450 33,55-4,483-12,-720-4,1-13,-2-11,89-90,67-66,331-117,-457 277,177-72,-136 17,44-15,609-137,-138 131,183 118,-793 1,0 10,-1 12,65 62,-12-9,108 55,68 52,-43-5,318 246,-515-409,0-10,0-7,69-16,-17-3,-63 11,2 4,-2-4,2-8,51-38,-30 1,-40 4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02T14:56:46.290"/>
    </inkml:context>
    <inkml:brush xml:id="br0">
      <inkml:brushProperty name="width" value="0.1" units="cm"/>
      <inkml:brushProperty name="height" value="0.2" units="cm"/>
      <inkml:brushProperty name="color" value="#A85000"/>
      <inkml:brushProperty name="tip" value="rectangle"/>
      <inkml:brushProperty name="rasterOp" value="maskPen"/>
      <inkml:brushProperty name="ignorePressure" value="1"/>
    </inkml:brush>
  </inkml:definitions>
  <inkml:trace contextRef="#ctx0" brushRef="#br0">0 0,'0'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02T14:54:37.065"/>
    </inkml:context>
    <inkml:brush xml:id="br0">
      <inkml:brushProperty name="width" value="0.1" units="cm"/>
      <inkml:brushProperty name="height" value="0.2" units="cm"/>
      <inkml:brushProperty name="color" value="#FFA34F"/>
      <inkml:brushProperty name="tip" value="rectangle"/>
      <inkml:brushProperty name="rasterOp" value="maskPen"/>
      <inkml:brushProperty name="ignorePressure" value="1"/>
    </inkml:brush>
  </inkml:definitions>
  <inkml:trace contextRef="#ctx0" brushRef="#br0">107 48,'17'-1,"0"-1,0-1,0-1,29-9,-23 6,37-7,-54 13,0 0,-1 0,1 1,0 0,0 0,-1 0,1 1,0-1,-1 1,12 4,-17-5,1 0,0 1,-1-1,1 0,-1 1,1-1,-1 0,1 1,-1-1,1 1,-1-1,1 1,-1-1,1 1,-1-1,0 1,1-1,-1 1,0 0,0-1,1 1,-1 0,0-1,0 1,0-1,0 1,0 0,0-1,0 1,0 0,0-1,0 1,0 0,0-1,-1 1,1 0,0-1,0 1,-1-1,1 1,0-1,-1 1,1 0,0-1,-1 1,1-1,-1 1,-4 4,1-1,-1 1,0-1,-6 3,1 1,9-6,-1 0,0 1,1-1,-1 0,1 1,0-1,0 1,0 0,0-1,0 1,1 0,-1 0,1 4,-1-3,1 1,-1-1,-1 0,1 1,-3 5,3-7,-1 0,1 0,-1 0,1 0,0 0,-2 5,3-7,0 0,0-1,0 1,0 0,0 0,0-1,0 1,0 0,1-1,-1 1,0 0,0-1,0 1,1 0,-1-1,0 1,1-1,-1 1,1 0,-1-1,0 1,1-1,-1 1,1-1,0 0,-1 1,1-1,-1 1,1-1,0 0,-1 1,2-1,5 2,-1-1,1 0,-1 0,1-1,-1 0,1 0,-1 0,1-1,-1 0,1 0,-1-1,0 1,1-1,-1-1,0 1,0-1,8-5,-14 7,1 1,-1 0,1 0,-1-1,0 1,1 0,-1 0,1-1,-1 1,1-1,-1 1,0 0,1-1,-1 1,0-1,0 1,1-1,-1 1,0-1,0 1,1-1,-1 1,0-1,0 1,0-2,0 2,-1-1,1 1,0-1,-1 1,1-1,-1 1,1-1,-1 1,1 0,-1-1,1 1,-1 0,1-1,-1 1,1 0,-1 0,1 0,-2-1,-31-4,32 5,-33-2,37 7,0-1,0 1,-1 0,0 0,2 6,-4-7,0-1,0 1,0-1,-1 1,1-1,-1 1,0-1,0 1,-1-1,1 0,-1 1,1-1,-1 0,-2 3,2-3,0 0,0 1,0-1,0 1,1-1,-1 1,1-1,0 1,1 0,-2 6,2-8,0-1,0 0,1 0,-1 1,0-1,0 0,1 0,-1 1,1-1,-1 0,1 0,0 0,-1 0,1 0,0 0,0 0,0 0,0 0,-1 0,1 0,1-1,-1 1,0 0,0-1,0 1,0 0,0-1,1 0,-1 1,1-1,6 2,0-1,0 0,0 0,9-1,12 2,-28-2,0 1,1-1,-1 0,0 1,0-1,0 1,1-1,-1 1,0 0,0-1,0 1,0 0,0 0,0 0,-1 0,1 0,0 0,0 0,-1 0,1 0,0 0,-1 0,1 0,-1 1,0-1,1 0,-1 0,0 1,0-1,1 0,-1 0,0 1,0-1,-1 0,1 0,0 1,-1 1,0 2,-1 1,0-1,1 0,-2 0,1 0,-1-1,-6 9,-4 3,-1-2,-1 0,0 0,-20 12,-15 14,37-29,0 2,-14 17,23-26,1 0,0 1,0-1,1 1,-1-1,1 1,0 0,0 0,1 0,-1 0,1 1,0 5,1-10,0 0,0 0,0 0,0 0,0 0,1 0,-1 0,0 0,1 0,-1 0,1 0,-1 0,1 0,-1 0,1 0,0 0,-1 0,1 0,0 0,0-1,0 1,-1 0,1-1,0 1,0-1,0 1,0-1,0 1,0-1,0 0,1 1,-1-1,0 0,0 0,0 0,0 0,2 0,6 0,1 0,-1-1,16-2,-11 1,-7 1,5-1,0 1,14 1,-23 0,0 0,0 1,0-1,0 1,0 0,0-1,0 1,0 1,0-1,-1 0,1 1,0-1,3 4,-5-4,0 0,0 0,0 0,-1 0,1 0,0 0,-1 0,1 0,-1 0,1 0,-1 0,1 0,-1 0,0 0,0 1,1-1,-1 0,0 0,0 3,-1-2,1 1,-1-1,0 1,0-1,0 1,0-1,0 1,-3 3,-1 2,-2 0,1 0,-14 11,-44 32,-2 3,51-37,15-17,0 0,0 0,-1 0,1 0,0 0,0 1,0-1,0 0,0 0,0 0,0 0,0 1,0-1,0 0,0 0,0 0,0 0,0 1,0-1,0 0,0 0,0 0,0 1,0-1,0 0,0 0,0 0,0 0,0 1,0-1,0 0,0 0,0 0,1 0,-1 0,0 1,0-1,0 0,0 0,0 0,1 0,-1 0,0 0,0 0,0 1,0-1,1 0,-1 0,0 0,0 0,0 0,0 0,1 0,-1 0,12-1,-11 1,4 0,0-1,0 0,0 1,0 0,-1 0,8 1,-11-1,0 0,0 0,0 0,-1 1,1-1,0 0,0 1,0-1,0 1,0-1,-1 1,1 0,0-1,0 1,-1 0,1-1,0 1,-1 0,1 0,-1-1,1 1,-1 0,1 0,-1 0,0 0,1 0,-1 0,0 0,0 0,0 0,0 0,0 0,0 1,0 2,-1 0,0-1,0 1,-1 0,1-1,-1 1,0-1,0 0,0 1,0-1,0 0,-1 0,0-1,-3 4,-11 16,10-12,2 1,0 0,0 0,1 1,0-1,1 1,-3 20,3-5,0-1,3 39,1-55,1-1,0 1,0-1,8 19,0 2,-9-27,0 0,0 0,1 0,0 0,-1 0,1 0,0 0,1-1,-1 1,0-1,1 1,-1-1,1 0,0 0,0 0,-1-1,1 1,1-1,-1 1,0-1,0 0,0 0,5 1,7 0,1 1,0-2,27-1,-31 0,30-1,32 1,-66 0,-1 1,1 1,-1-1,1 1,-1 0,0 1,11 5,-17-8,1 2,1-1,-1 0,1 1,0-1,-1 0,1-1,4 2,-7-2,1 0,0 0,0 0,0-1,-1 1,1 0,0 0,-1-1,1 1,0 0,0-1,-1 1,1-1,-1 1,1 0,0-1,-1 0,1 1,-1-1,1 1,-1-1,0 0,1 1,-1-1,1 0,-1 1,0-1,0 0,1 0,-1 1,0-1,0-1,3-10,-2 0,1 0,-1-19,1-8,6-253,-8 196,0 86,1 1,0-1,1 0,0 1,0-1,6-11,27-55,-6 17,-7 14,-15 33,-1 0,0 0,-1 0,4-15,-8 22,0 1,0-1,-1 0,0 1,0-1,0 0,0 0,-1 1,0-1,0 1,0-1,0 1,-1-1,0 1,-4-9,-3-1,-1-1,-1 2,0-1,0 1,-1 1,-20-16,-89-56,112 78,-32-23,33 21,-1 1,-1 1,1-1,-1 2,0-1,0 1,-19-6,13 8,-28-2,35 5,0-1,-1 0,1 0,0-1,0 0,0-1,0 0,-9-5,12 5,0-2,1 1,-1-1,1 1,0-1,0-1,0 1,-6-11,-7-7,12 18,3 10,3 10,2-6,1 0,1 1,-1-1,10 15,24 36,-21-36,93 135,-88-125,29 50,-48-80,1 1,-1-1,1 1,0-1,0 0,7 6,-9-8,0-2,0 1,1 0,-1 0,0 0,1 0,-1-1,1 1,-1-1,0 1,1-1,-1 0,1 1,-1-1,1 0,-1 0,1 0,0 0,-1 0,1 0,-1-1,1 1,-1 0,1-1,-1 1,3-2,1-1,0-1,0 1,0-1,-1 0,1-1,-1 1,6-8,4-5,-11 14,0 0,0-1,0 1,-1-1,1 0,-1 0,0 0,0 0,0 0,1-6,-3 8,0 0,1 0,-1 0,0-1,0 1,0 0,-1-1,1 1,0 0,-1 0,0 0,1-1,-1 1,0 0,0 0,0 0,-1 0,1 0,0 1,-1-1,1 0,-3-1,-10-10,0 1,-24-15,21 16,0-1,-14-14,27 22,0-1,0 1,0-1,0 0,1 0,0 0,0 0,1-1,-1 1,1-1,0 1,1-1,-1 0,1 0,0-9,-5-21,4 26,0-1,0 0,1 0,1 0,0 0,0 0,3-12,-3 22,1-1,0 1,-1-1,1 1,0-1,0 1,0-1,0 1,0 0,1-1,-1 1,0 0,1 0,-1 0,0 0,1 0,-1 0,1 1,0-1,-1 0,1 1,0-1,-1 1,1 0,3-1,4 0,1 1,0-1,13 3,-11-2,-5 1,6-1,23 4,-32-3,1 0,-1 1,1-1,-1 1,0 0,0 0,0 1,7 4,21 21,42 45,-29-25,-38-40,0-1,-1 2,0-1,-1 1,0 0,0 0,-1 0,0 1,0 0,2 11,1 13,5 57,-9-61,0-13,1 0,8 25,0-5,-7-21,5 16,-10-31,0 0,1 1,-1-1,0 0,0 1,0-1,0 1,0-1,0 0,-1 1,1-1,0 0,-1 1,1-1,-1 0,1 1,-1-1,-1 1,2-1,-1-1,1 1,-1-1,1 0,-1 0,0 1,1-1,-1 0,0 0,1 0,-1 0,0 1,1-1,-1 0,1 0,-1 0,0 0,1-1,-1 1,0 0,1 0,-1 0,0 0,1-1,-1 1,1 0,-1-1,-1 0,-15-11,13 9,1 0,0-1,0 1,0-1,0 0,0 0,1 0,-1 0,-1-6,-1-4,-5-24,-2-5,11 38,-1 0,1 0,0 0,0 0,0 0,1 0,0-1,0 1,1-7,-1 9,1 1,0-1,-1 1,1-1,0 1,0-1,1 1,-1 0,0 0,1 0,-1-1,1 1,0 0,0 1,-1-1,1 0,1 1,-1-1,0 1,4-3,0 2,-1 1,0-1,1 1,-1 0,1 0,0 0,-1 1,1 0,0 0,-1 1,1-1,-1 1,1 0,-1 1,1 0,-1-1,0 2,0-1,7 4,-6-3,0 1,-1 0,1 0,-1 0,0 0,0 1,0 0,0 0,-1 0,0 1,0-1,-1 1,1 0,-1 0,4 13,-4-8,-2-1,1 1,-1 0,-1 1,0-1,-1 0,0 0,0 0,-5 14,0-4,0-1,-2 0,-18 36,-18 11,30-48,1 1,-12 23,23-38,-28 51,30-56,0 1,0-1,0 0,0 0,0 0,0 0,0 0,0 0,0 0,-1 0,1 0,0 0,0 1,0-1,0 0,0 0,0 0,0 0,0 0,0 0,0 0,0 0,0 0,-1 0,1 0,0 0,0 0,0 0,0 0,0 0,0 0,0 0,0 0,0 0,-1 0,1 0,0 0,0 0,0 0,0 0,0 0,0 0,0 0,0 0,0 0,0 0,-1 0,1 0,0 0,0-1,0 1,0 0,0 0,0 0,0 0,0 0,0 0,0 0,0 0,0 0,0 0,0-1,-3-9,1-16,2-157,1 93,0 198,-2 123,-5-180,-1 0,-3-1,-28 86,33-122,-1 0,-1 0,-10 14,7-11,-11 24,18-35,0 1,0 0,0-1,-1 0,0 0,-1 0,0 0,1-1,-2 0,1 0,0 0,-7 4,11-8,-5 3,0 0,1 0,-1-1,-1 0,-9 4,14-6,1-1,-1 1,1-1,-1 0,1 0,-1 0,1 0,-1 0,0 0,1 0,-1 0,1-1,-1 1,1 0,0-1,-1 0,1 1,-1-1,1 0,0 1,-1-1,1 0,0 0,0 0,0 0,0 0,0-1,0 1,0 0,0 0,0-1,-1-1,-2-8,-1 1,-5-22,8 24,0 0,0 0,-1 0,-1 1,1-1,-1 1,-9-13,-12-8,-1 2,-1 0,-41-29,61 50,1 0,0-1,0 1,0-1,1-1,0 1,0-1,0 0,1 0,-5-11,8 15,0 0,0 0,0 0,0 0,0-1,1 1,0 0,-1 0,1-1,1 1,-1 0,0 0,1-1,-1 1,1 0,0 0,0 0,0 0,1 0,-1 0,1 0,-1 0,1 0,0 1,0-1,0 1,1 0,4-5,9-4,1 0,0 1,0 1,29-11,-1 1,-31 12,-4 3,-1 0,0-1,-1 0,1 0,8-8,-16 12,0 1,-1 0,1-1,-1 1,1-1,-1 1,1-1,-1 1,1-1,-1 1,0-1,1 1,-1-1,0 0,1 1,-1-1,0 1,0-1,1 0,-1 0,0 1,0-1,0 0,0 1,0-1,0 0,0 1,0-1,-1 0,1 0,-1 1,0-1,1 1,-1 0,0-1,0 1,0 0,1-1,-1 1,0 0,0 0,0 0,0 0,1 0,-1 0,0 0,0 0,0 0,0 1,1-1,-1 0,-1 1,-34 12,33-12,0 1,0-1,0 1,0 0,1 0,-1 0,0 0,-3 5,6-7,-1 0,1 0,0 0,0 0,0 1,-1-1,1 0,0 0,0 0,0 1,0-1,0 0,0 0,0 1,-1-1,1 0,0 0,0 1,0-1,0 0,0 0,0 1,0-1,0 0,0 0,0 1,0-1,0 0,1 0,-1 1,0-1,0 0,0 0,0 0,0 1,0-1,1 0,-1 0,0 0,0 1,0-1,0 0,1 0,-1 0,0 0,0 0,1 1,-1-1,0 0,1 0,14 1,-6-4,-1 1,1-1,-1 0,1-1,-1 0,0 0,0-1,12-10,-2 0,-1 0,22-25,-33 33,0-1,0 1,0-1,-1-1,0 1,-1-1,0 0,0 0,-1 0,0 0,-1-1,2-11,-4 20,0 0,0 0,0 0,0-1,0 1,0 0,0 0,-1-1,1 1,0 0,-1 0,1 0,-1 0,1 0,-1 0,0 0,1 0,-1 0,0 0,0 0,0 0,0 0,0 0,0 1,0-1,0 0,0 1,0-1,0 1,0-1,0 1,0 0,-2-1,-4-1,-1 1,1 0,-1 1,-10-1,9 1,-69 1,-29 0,103-2,1 1,-1 0,1-1,0 1,-1-1,1 0,0 0,0 0,0-1,0 1,-3-3,5 4,-1-1,1-1,0 1,0 0,0 0,0 0,1 0,-1-1,0 1,0 0,1-1,-1 1,1-1,-1 1,1-1,0 1,-1-1,1 1,0-1,0 1,0-1,0 1,0-1,1 1,-1-1,1-2,2-5,1-1,1 1,-1 0,1 0,1 1,10-14,-13 18,27-34,2 1,1 2,2 1,71-53,-103 85,-1 0,1 0,0 0,0 1,0-1,1 1,-1 0,0-1,4 1,-6 1,0 0,0 0,0 0,0 0,0 0,0 0,0 0,0 1,0-1,0 0,0 1,0-1,0 1,0-1,0 1,-1 0,1-1,0 1,0 0,-1-1,1 1,0 0,-1 0,1 0,-1-1,1 1,-1 0,1 0,-1 0,0 0,0 0,1 2,6 27,-6-22,1 0,0 1,4 7,-5-14,0 1,0-1,0 0,1 0,-1 0,1 0,0 0,-1 0,1 0,0 0,0-1,0 1,0-1,3 2,-4-2,0-1,-1 0,1 0,-1 1,1-1,-1 1,1-1,-1 0,1 1,-1-1,0 1,1-1,-1 1,1-1,-1 1,0-1,0 1,1 0,-1-1,0 2,-1 16,1-17,-75 297,58-238,12-41,-39 122,42-135,-15 32,17-37,-1 0,1 0,-1 1,0-1,1 0,-1 0,0 0,0 0,0 0,0 0,0 0,0 0,0-1,-1 1,1 0,0 0,0-1,-1 1,1-1,0 1,0-1,-2 1,1-2,1 1,0-1,0 1,0 0,0-1,0 0,0 1,0-1,0 0,0 1,0-1,0 0,0 0,0 0,0 0,1 0,-1 0,0 0,1 0,-1 0,1 0,-1-1,1 1,-1-1,-9-35,10 33,-9-54,3 0,3-1,5-71,-2 121,1-17,-1 24,0 1,0 0,1-1,-1 1,0-1,1 1,-1 0,1-1,-1 1,1 0,0-1,0 1,1-2,-2 3,0 0,0 0,0 0,0 0,0 0,0 0,1 0,-1 0,0 0,0 0,0 0,0 0,0 0,0 0,0 0,1 0,-1 0,0 0,0 0,0 0,0 0,0 0,0 0,0 1,0-1,1 0,-1 0,0 0,0 0,0 0,0 0,0 0,0 0,0 0,0 0,0 1,0-1,0 0,0 0,0 0,0 0,1 0,-1 0,0 0,0 0,0 1,0-1,0 0,0 0,2 8,-1 0,1 0,-1 0,-1 0,1 0,-2 10,1 3,0 348,-15-195,24-256,-7 72,0 0,1 0,0 0,1 0,9-18,-13 27,0 1,1-1,-1 0,0 1,1-1,-1 0,1 1,-1-1,1 1,-1-1,1 1,-1-1,1 1,-1-1,1 1,-1 0,1-1,0 1,-1 0,1-1,0 1,0 0,0 0,-1 0,1 1,-1-1,1 0,-1 1,1-1,-1 0,0 1,1-1,-1 0,0 1,1-1,-1 1,0-1,1 1,-1-1,0 1,0-1,0 1,0-1,1 2,0 5,1 1,0 13,-2-20,1 120,-1-45,-1-113,2 0,7-49,-3 51,1-2,1 1,12-36,-19 71,0 0,0 0,0 0,1 0,-1 0,0 1,1-1,-1 0,1 0,-1 0,1 0,-1 1,1-1,0 0,-1 1,1-1,0 0,-1 1,1-1,1 0,-1 1,0 0,-1 1,1-1,-1 0,1 1,-1-1,1 0,-1 1,0-1,1 1,-1-1,1 1,-1-1,0 1,1-1,-1 1,0-1,0 1,1-1,-1 1,0-1,0 2,3 7,-1 0,2 16,-1 91,-2-38,-1-112,6-52,0 34,-4 34,2 1,0 0,1 1,1-1,10-21,10-29,-22 54,11-33,-14 43,1 1,-1-1,1 0,0 0,0 0,-1 1,2-1,-1 1,0-1,0 1,5-3,-6 4,0 1,-1-1,1 1,0 0,-1-1,1 1,0 0,0-1,0 1,-1 0,1 0,0 0,0 0,0 0,-1 0,1 0,0 0,0 0,0 0,-1 0,1 0,0 1,0-1,1 1,-1 0,0-1,0 1,-1 0,1 0,0 0,0 0,0 1,-1-1,1 0,-1 0,1 0,-1 0,1 3,1 4,0-1,-1 1,0 15,-1-21,0 44,-3 0,-1 0,-2 0,-25 89,2-60,22-61,0 0,2 0,0 1,0 0,1 0,1 0,-1 22,4-18,0-10,0 0,0 0,-1 0,0 0,-4 17,4-24,1-1,-1 1,0 0,0-1,0 1,0 0,0-1,0 1,-1-1,1 0,0 1,-1-1,1 0,-1 0,1 0,-1 0,0 0,1 0,-1-1,0 1,1 0,-1-1,0 1,0-1,0 0,0 0,0 1,1-1,-1 0,0-1,0 1,0 0,0-1,-2 0,-8-2,1-1,-1 0,1-1,0 0,-20-14,4 3,-48-32,68 44,0 1,1 0,-1 1,0-1,-1 1,1 1,-8-2,-54-1,55 3,-253 2,259-1,0-1,1 0,-1 0,-13-4,21 5,0 0,-1 0,1 0,-1 0,1 0,-1 0,1 0,0-1,-1 1,1 0,-1 0,1 0,0-1,-1 1,1 0,0 0,-1-1,1 1,0 0,-1-1,1 1,0 0,0-1,-1 1,1 0,0-1,0 1,0-1,-1 1,1 0,0-1,0 1,0-1,0 1,0-1,0 1,0 0,0-1,0 1,0-1,0 1,0-1,0 1,1 0,-1-1,0 1,0-1,0 1,1 0,-1-1,0 1,0 0,1-1,-1 1,0 0,1-1,-1 1,4-4,0 1,0 0,1 0,4-2,-5 3,37-19,1 2,75-24,-81 30,-28 10,-1 0,0-1,0 0,10-7,-12 6,2 1,-1 0,0 0,1 1,9-4,14 0,-23 6,-1 0,0 0,0-1,10-4,-14 5,1 0,-1 0,0-1,0 1,0-1,-1 0,1 1,0-1,-1 0,1 0,-1 0,1 0,-1 0,0 0,0-1,1-2,3-13,-1-1,-1 0,0 0,-1 0,-2-20,0 38,0 1,0-1,0 0,0 0,0 0,0 0,0 0,0 0,0 0,0 0,0 0,1 1,-1-1,0 0,1 0,-1 0,1 0,-1 1,1-1,-1 0,1 0,-1 1,1-1,0 0,0 0,1 1,-1 0,1 0,-1 1,1-1,-1 0,1 1,-1-1,1 1,-1-1,0 1,1 0,-1 0,0-1,2 3,10 5,-1 1,-1 1,0 0,0 0,-1 1,10 14,47 77,-47-67,39 47,-46-66,-4-5,14 19,-20-27,-1 1,0-1,-1 1,1 0,-1-1,1 1,-1 0,0 0,-1 0,1 7,-1-10,0 0,0 1,0-1,0 0,-1 0,1 1,-1-1,1 0,-1 0,1 0,-1 1,0-1,1 0,-1 0,0 0,0 0,0 0,0 0,0-1,0 1,0 0,0 0,0-1,0 1,0-1,-1 1,1-1,-2 1,-5 2,0-2,-1 1,-12 0,0 0,19-1,-1-1,1 1,-1 0,1 0,0 0,-1 0,1 0,0 0,0 0,0 1,0-1,0 1,0 0,0-1,0 1,1 0,-1 0,1 0,-3 5,2-2,0 0,0 0,1 0,0 1,0-1,0 1,1 9,4-132,-2 108,1 18,4 21,-4 16,-1 1,-4 49,2-95,0 0,0 0,0 1,-1-1,1 0,0 0,-1 0,1 1,0-1,-1 0,1 0,-1 0,0 0,0 1,0-1,1-1,0 0,-1 0,1 1,-1-1,1 0,0 0,-1 0,1 0,-1 0,1 1,-1-1,1 0,0 0,-1 0,1 0,-1 0,1 0,-1 0,1-1,-1 1,1 0,0 0,-1 0,0-1,-3-1,0-1,0 1,1-1,-1 0,-5-7,1 3,-31-25,24 20,1 0,-16-16,26 23,0 1,0-1,1 0,0 0,0 0,0 0,1-1,0 1,0-1,0 0,-1-7,0-15,2 1,3-50,0 21,-1 1,-2 6,3 0,12-78,-5 87,25-69,-26 84,-2-1,-1 0,5-51,-7 40,-1-9,-2 29,3-21,-3 33,1 0,0 1,0-1,1 1,0-1,-1 1,1-1,1 1,2-4,-4 6,0 1,0 0,0-1,0 1,0 0,0 0,1 0,-1 0,0 0,1 0,-1 0,1 1,-1-1,1 0,-1 1,1 0,0-1,-1 1,4-1,-2 1,-1 1,1-1,0 0,-1 1,1 0,-1 0,1-1,-1 2,1-1,-1 0,3 2,2 1,-2 1,1-1,0 1,-1 1,0-1,0 1,-1 0,6 7,0 7,-1-1,0 1,11 41,5 68,-16-86,-5-23,-1-1,1 24,-6-29,2-14,0 1,0-1,0 0,0 0,0 0,0 0,0 0,0 1,-1-1,1 0,0 0,0 0,0 0,0 0,0 0,-1 0,1 0,0 0,0 1,0-1,0 0,0 0,-1 0,1 0,0 0,0 0,0 0,0 0,-1 0,1 0,0 0,0 0,0 0,0 0,0 0,-1-1,1 1,0 0,-1-1,0 0,0 0,0 0,0 0,0 0,0 0,1 0,-1 0,0 0,1-1,-1 1,1 0,-1-1,0 0,-2-18,0 0,0 0,2 0,2-35,0 40,-1 227,0-81,1-121,-2 0,0 1,0-1,-1 0,0 0,-7 18,9-27,0 0,0 0,-1 0,1 0,-1 0,1 0,-1 0,1-1,-1 1,0 0,1 0,-1-1,0 1,0 0,0-1,-1 2,2-2,0 0,-1 0,1 0,-1 0,1 0,0 0,-1 0,1 0,-1-1,1 1,0 0,-1 0,1 0,0 0,-1-1,1 1,0 0,-1 0,1-1,0 1,0 0,-1-1,1 1,0 0,0-1,-1 1,1-1,-2-4,-1 0,1 0,0 0,-1-9,-3-20,1 1,1-53,-3-15,1 7,2 16,3 71,0 1,0-1,-1 1,0-1,0 1,-1 0,1-1,-1 1,-1 1,1-1,-8-9,-4-1,1 1,-25-18,20 17,-20-22,11 5,1 0,-25-42,49 70,0 0,-1 0,1 0,-1 1,0-1,-1 1,1 0,-1 0,1 0,-1 1,0 0,-1 0,1 0,0 0,-1 1,0 0,1 0,-1 1,0-1,0 1,0 1,0-1,-8 1,0 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02T14:54:57.921"/>
    </inkml:context>
    <inkml:brush xml:id="br0">
      <inkml:brushProperty name="width" value="0.1" units="cm"/>
      <inkml:brushProperty name="height" value="0.2" units="cm"/>
      <inkml:brushProperty name="color" value="#FFA34F"/>
      <inkml:brushProperty name="tip" value="rectangle"/>
      <inkml:brushProperty name="rasterOp" value="maskPen"/>
      <inkml:brushProperty name="ignorePressure" value="1"/>
    </inkml:brush>
  </inkml:definitions>
  <inkml:trace contextRef="#ctx0" brushRef="#br0">255 516,'0'1,"0"0,0 0,0 0,0 0,0 0,1-1,-1 1,0 0,1 0,-1 0,1 0,-1-1,1 1,-1 0,1 0,-1-1,1 1,0 0,-1-1,1 1,0-1,0 1,-1-1,1 1,0-1,0 0,0 1,0-1,0 0,0 0,-1 1,1-1,0 0,0 0,0 0,0 0,1-1,3 1,-1 0,0 0,1-1,-1 0,0 0,7-2,-2-2,1 0,12-9,-14 9,0 0,0 0,11-4,-19 9,1 0,-1-1,0 1,0 0,0 0,0 0,1 0,-1 0,0 0,0-1,0 1,1 0,-1 0,0 0,0 0,0 0,1 0,-1 0,0 0,0 0,1 0,-1 0,0 0,0 0,0 0,1 0,-1 0,0 0,0 0,0 1,1-1,-1 0,0 0,0 0,0 0,1 0,-1 0,0 1,0-1,0 0,0 0,0 0,1 0,-1 1,0-1,0 0,0 0,0 0,0 1,0-1,0 0,0 0,0 1,0-1,0 0,0 0,0 0,0 1,0-1,0 0,0 0,0 0,0 1,0-1,0 0,0 0,0 1,-8 15,7-14,-8 12,0-1,-1 1,0-1,-1-1,0 0,-1-1,-1 0,-26 18,30-23,5-4,0 0,1 0,-1 1,1-1,0 1,-1 0,1 0,-3 4,6-6,-1-1,1 0,0 0,0 0,0 0,0 1,0-1,0 0,0 0,0 0,0 1,0-1,-1 0,1 0,0 0,0 1,0-1,0 0,0 0,1 0,-1 1,0-1,0 0,0 0,0 0,0 1,0-1,0 0,0 0,0 0,0 0,0 1,1-1,-1 0,0 0,0 0,0 0,0 0,1 1,-1-1,0 0,0 0,0 0,0 0,1 0,-1 0,0 0,0 0,0 0,1 0,-1 0,0 0,0 0,0 0,1 0,-1 0,0 0,16-2,8-6,0-1,-1-1,0 0,-1-2,0-1,27-21,-48 33,0 0,0 1,0-1,0 0,0 0,0 0,0 0,0 0,-1-1,1 1,0 0,-1 0,1 0,0-2,-1 2,0 1,0-1,0 1,0-1,0 1,0 0,0-1,-1 1,1-1,0 1,0-1,0 1,-1 0,1-1,0 1,0-1,-1 1,1 0,0-1,-1 1,1 0,0-1,-1 1,1 0,-1 0,0-1,-2 0,0 0,0 0,-1 0,1 0,0 1,-1-1,1 1,-8 0,3 1,1 0,-1 0,-15 5,14-3,1-1,-15 2,23-4,-1 1,0-1,1 0,-1 0,0 0,1 0,-1 0,1-1,-1 1,0 0,1 0,-1 0,0-1,1 1,-1 0,1 0,-1-1,0 1,1 0,-1-1,1 1,-1-1,1 1,0-1,-1 1,1-1,-1 0,0-1,1 1,-1-1,1 1,0-1,-1 1,1-1,0 1,0-1,0 0,0 1,1-3,0-2,0-1,1 1,0-1,4-9,-4 12,0 1,0 0,0 0,0 0,0 0,1 0,-1 0,1 1,0-1,0 1,0 0,0 0,0 0,7-3,0 1,1 0,0 1,18-2,-16 3,24-8,-27 7,-1-1,0-1,0 0,0 0,-1 0,10-9,-15 12,0-1,0 0,0 0,0 0,0 0,-1-1,1 1,-1-1,0 0,0 1,0-1,-1 0,1 0,-1 0,0 0,0 0,0-7,-1 10,0-1,0 1,0-1,-1 1,1-1,-1 1,1 0,-1-1,1 1,-1 0,0-1,0 1,0 0,0 0,0 0,0 0,0 0,0 0,0 0,0 0,0 0,-1 0,1 1,0-1,-1 0,-1 0,-5-2,1 1,-1 0,-13-1,18 2,-19-2,1 1,0 0,-1 2,1 0,-23 4,29 1,15-5,0 0,0 0,-1 0,1 0,0 0,0 0,0 0,0 0,0 0,0 1,0-1,0 0,0 0,0 0,0 0,0 0,0 0,0 0,0 0,0 0,0 0,0 1,0-1,0 0,0 0,0 0,0 0,0 0,0 0,0 0,0 0,0 1,0-1,0 0,0 0,0 0,0 0,0 0,0 0,0 0,0 0,0 0,0 0,0 0,1 0,-1 1,0-1,0 0,0 0,0 0,0 0,0 0,0 0,0 0,0 0,1 0,-1 0,0 0,0 0,3 1,-1-1,1 1,0-1,0 1,-1-1,1 0,5 0,-2-1,1 0,0-1,-1 0,1 0,-1 0,1-1,-1 1,8-7,4-2,21-20,-31 25,-7 5,0 1,-1-1,1 0,0 1,0-1,-1 1,1-1,0 1,0 0,0-1,0 1,0 0,-1-1,3 1,-3 0,1 0,-1 0,0 1,0-1,1 0,-1 0,0 0,0 0,0 0,1 1,-1-1,0 0,0 0,0 0,0 1,1-1,-1 0,0 0,0 1,0-1,0 0,0 0,0 1,0-1,0 0,0 1,0-1,0 0,0 0,0 1,0 3,0 0,-1-1,0 1,0 0,-2 5,-44 96,44-87,3-18,0 1,0-1,0 1,0-1,1 1,-1-1,0 1,0-1,0 1,1-1,-1 1,0-1,0 1,1-1,-1 0,0 1,1-1,0 1,0 0,0-1,0 0,0 0,0 1,0-1,0 0,0 0,0 0,0 0,0 0,-1 0,1 0,0 0,0-1,0 1,0 0,0-1,0 1,0 0,0-1,1 0,0 0,-1 0,1 0,-1 0,0 0,1 0,-1 0,0-1,0 1,0 0,0-1,0 1,0-1,0 1,1-3,-2 3,0 0,1 0,-1 0,0 0,0 0,0-1,0 1,0 0,0 0,0 0,0 0,0 0,-1 0,1 0,0 0,-1 0,1 0,-1 0,1 0,-1 0,0 0,1 0,-1 0,0 0,-1-1,0 1,0 0,1 0,-1 0,0 0,0 1,0-1,0 0,0 1,0 0,0-1,0 1,0 0,0 0,0 0,0 0,0 1,0-1,1 0,-1 1,0-1,-3 2,-2 1,0-1,0 1,0 1,-8 4,12-5,0-1,0 1,0 0,0 0,0 0,0 0,1 0,0 1,0-1,0 1,0 0,0-1,1 1,-1 0,1 0,0 0,0 5,-1 6,1 1,0 0,3 18,-1-14,0-7,0 0,1 0,0 0,1-1,1 1,5 12,-6-16,1 0,1-1,0 0,0 0,0 0,1 0,0-1,1 0,7 6,-13-11,12 8,-1 0,2 0,24 13,-34-21,0 0,0 0,1-1,-1 1,0-1,1 0,-1-1,1 1,-1-1,1 0,-1 0,1 0,-1 0,1-1,-1 0,1 0,-1 0,7-3,-9 3,-1 0,1 0,0 0,-1 0,1 0,0 0,-1 0,0-1,1 1,-1 0,0-1,1 1,-1-1,0 0,0 1,0-1,-1 0,1 0,1-2,-18 38,1 39,6-25,8-68,1 11,1 21,-1 23,0 58,-1-84,0 0,0 0,-1 1,0-1,-1-1,0 1,-6 12,8-20,1 0,0-1,-1 1,1 0,-1 0,1-1,-1 1,0 0,1-1,-1 1,0-1,1 1,-2 0,2-1,-1 0,1 0,0 0,-1 0,1-1,0 1,-1 0,1 0,0 0,0 0,-1 0,1 0,0-1,-1 1,1 0,0 0,0-1,-1 1,1 0,0 0,0-1,0 1,-1 0,1 0,0-1,0 1,0 0,0-1,0 1,0 0,0-1,0 1,0 0,-1-1,1 1,1 0,-1-1,-2-9,1 1,0-1,1 1,0-1,1 0,0 1,2-13,20-68,-21 84,9-31,25-59,-25 75,-6 18,-4 5,-2 8,-1-1,-1 0,-1 0,1-1,-2 1,-8 13,-33 38,29-38,-15 23,28-40,1 1,-1-1,0 0,0 0,0-1,-1 1,0-1,0 0,0 0,0-1,0 1,-1-1,0 0,1-1,-1 1,0-1,0 0,0-1,-1 0,1 0,0 0,-10 0,7-1,1-1,-1 1,0-2,1 1,-1-1,1 0,0-1,-1 0,1 0,1-1,-1 0,0 0,-12-10,12 7,0 0,0 0,1-1,0 0,0 0,0 0,1-1,1 0,0 0,0-1,-4-11,-38-151,35 121,7 29,1 0,1-1,1-23,5-68,-3 104,2-18,0 0,2 1,1-1,2 1,0 0,2 1,23-51,-28 71,-1 1,0-1,1 1,0-1,0 1,1 0,7-6,-10 9,0 0,0 1,1-1,-1 1,1 0,-1-1,1 1,0 1,-1-1,1 0,0 0,-1 1,1 0,0-1,0 1,0 0,-1 1,1-1,5 1,8 5,-1 0,1 0,-1 2,18 11,-2-2,-24-13,-1-1,1 1,-1 1,0-1,10 11,-13-12,-1 0,0 0,0 1,0-1,0 0,0 1,-1-1,1 1,-1 0,0 0,0-1,0 1,0 5,0 8,-1 0,0 0,-2 1,1-1,-2 0,-1-1,0 1,-10 27,6-26,5-12,0 0,1 1,0 0,0-1,-2 11,4-16,0-1,0 1,0-1,0 1,0-1,0 1,0 0,0-1,0 1,1-1,-1 1,0-1,0 1,1-1,-1 1,0-1,1 0,-1 1,0-1,1 1,-1-1,0 1,1-1,-1 0,1 0,-1 1,1-1,-1 0,1 1,-1-1,1 0,-1 0,1 0,0 0,19-1,-1-4,-1 0,1-2,-2 0,1-1,-1-1,22-15,-39 24,0 0,0-1,0 1,1 0,-1 0,0 0,0-1,0 1,1 0,-1 0,0 0,0 0,0 0,1 0,-1-1,0 1,0 0,1 0,-1 0,0 0,0 0,1 0,-1 0,0 0,0 0,1 0,-1 0,0 0,0 0,0 0,1 0,-1 0,0 0,1 1,-5 7,-12 11,16-19,0 0,0 0,0 0,0 0,0 0,0 0,0 0,0 0,0 0,0 0,0 0,0 0,0-1,0 1,0 0,0 0,0 0,0 0,0 0,0 0,0 0,0 0,-1 0,1 0,0 0,0 0,0 0,0 0,0 0,0 0,0 0,0 0,0 0,0 0,0 0,0 0,0 0,0 0,0 0,0 0,0 0,0 0,0 0,-1 0,1 0,0 0,0 0,0 0,0 0,0 0,0 0,0 0,0 0,0 0,0 0,0 0,0 0,0 0,0 0,0 0,0 0,0 0,2-8,5-9,-3 12,0 0,1 1,-1-1,1 1,0 0,0 0,1 1,-1-1,1 1,-1 1,10-4,-13 5,1 0,0 0,0 0,0 0,-1 0,1 1,0 0,0-1,0 1,0 0,0 0,0 1,0-1,0 1,0-1,0 1,-1 0,1 0,0 0,0 1,-1-1,1 1,-1-1,1 1,-1 0,3 3,0 1,0 0,-1 1,0 0,-1-1,1 1,-1 1,-1-1,1 0,-1 1,-1-1,2 9,-1 10,0 0,-3 25,0-21,0-19,1 0,-2 0,0 0,0 0,-1-1,0 1,-6 13,-1-5,0-1,-23 32,20-30,-11 23,13-23,-18 26,26-42,-12 17,-1 0,-1-1,-34 30,18-18,27-25,0-1,0 0,0 0,-1 0,0-1,0 0,-1 0,1-1,-12 4,6-4,0-1,0 0,0-1,-19 0,-56-3,34-1,48 2,1 0,-1 0,1-1,-1 0,0 0,1 0,-1-1,1 0,0 0,0 0,0 0,0-1,0 0,0 0,1 0,-9-8,6 4,-9-6,2 0,-23-27,33 34,0 0,0 0,1 0,-1-1,1 0,1 1,-1-1,1 0,0 0,1 0,-1-9,0-23,1 1,2-1,2 0,13-65,-13 94,0 0,0-1,2 1,-1 1,7-12,33-44,-4 6,5-6,-15 22,-23 32,-1 0,-1-1,5-12,-7 15,0 0,1 0,0 1,1-1,10-14,-15 23,0 0,0-1,1 1,-1 0,0 0,0-1,0 1,0 0,1 0,-1 0,0-1,0 1,0 0,1 0,-1 0,0 0,0 0,1-1,-1 1,0 0,0 0,1 0,-1 0,0 0,1 0,-1 0,0 0,0 0,1 0,-1 0,0 0,1 0,-1 0,0 0,0 0,1 1,-1-1,0 0,0 0,1 0,-1 0,0 0,0 1,0-1,1 0,-1 0,0 0,0 1,0-1,1 0,-1 0,0 1,0-1,0 0,0 0,0 1,0-1,0 0,0 1,4 17,-4-18,1 22,-1-13,1-1,-1 0,2 0,3 16,-4-22,-1-1,1 1,0 0,0 0,0 0,0-1,0 1,1 0,-1-1,0 1,1-1,-1 0,1 1,0-1,-1 0,1 0,0 0,0 0,-1 0,1 0,0-1,0 1,0-1,0 1,2-1,-2 0,0 0,0 1,-1-2,1 1,0 0,0 0,-1-1,1 1,0-1,0 1,-1-1,1 0,-1 1,1-1,-1 0,1 0,-1 0,1 0,-1-1,0 1,1 0,-1-1,1-1,0 0,0 0,0 0,0-1,-1 1,1-1,-1 1,0-1,0 0,1-5,-10 35,6 3,0 39,2-66,1 1,-1-1,0 0,0 0,1 1,-1-1,1 0,0 0,0 0,0 0,0 0,0 0,2 3,-2-4,0 0,0 0,0 0,0-1,1 1,-1 0,0 0,1-1,-1 1,0-1,1 1,-1-1,1 0,-1 1,0-1,1 0,-1 0,1 0,-1 0,1 0,1-1,2 0,-1 0,0 0,0-1,0 1,0-1,0 0,0 0,4-4,-4 3,0 1,1-1,-1 1,10-4,-13 6,-1 0,1 0,0 0,-1 0,1 0,-1-1,1 1,0 0,-1 0,1 1,-1-1,1 0,0 0,-1 0,1 0,-1 0,1 1,0-1,-1 0,1 1,-1-1,1 0,-1 1,1-1,-1 0,1 1,-1-1,0 1,1-1,-1 1,1 1,0 0,0 0,0 0,0 1,-1-1,1 0,-1 3,1 6,0 0,-1 0,-1 1,0-1,-4 18,-18 58,11-49,-8 32,17-58,3-12,1 0,-1 0,0 0,0 0,0 0,0 0,0 0,0 0,0 0,0 0,0 0,0 0,0 1,0-1,0 0,0 0,0 0,0 0,0 0,0 0,1 0,-1 0,0 0,0 0,0 0,0 0,0 0,0 0,0 0,0 0,0 0,0 0,0 0,0 0,0 0,0 0,1 0,-1 0,0 0,0-1,0 1,0 0,0 0,0 0,0 0,0 0,0 0,0 0,0 0,0 0,0 0,0 0,0 0,0 0,0 0,0 0,0 0,0 0,0-1,0 1,0 0,0 0,0 0,0 0,0 0,0 0,0 0,14-22,-7 9,235-376,-226 365,-16 24,0 0,0 0,0 0,0 1,0-1,0 0,0 0,0 0,0 0,0 0,0 1,0-1,0 0,0 0,1 0,-1 0,0 0,0 1,0-1,0 0,0 0,0 0,0 0,0 0,0 0,0 0,0 0,1 1,-1-1,0 0,0 0,0 0,0 0,0 0,0 0,1 0,-1 0,0 0,0 0,0 0,0 0,0 0,1 0,-1 0,0 0,0 0,0 0,0 0,0 0,1 0,-1 0,0 0,0 0,0 0,0 0,0 0,0 0,1-1,-1 1,0 0,0 0,-2 14,-59 162,56-162,-1-1,-13 23,12-29,5-11,4-13,-1 13,1 0,0 0,0 0,0 0,1 0,0 1,-1-1,7-5,-8 9,-1-1,1 0,0 1,0-1,0 0,-1 1,1-1,0 1,0-1,0 1,0 0,0-1,0 1,0 0,0 0,0 0,0 0,0-1,0 1,0 0,0 1,0-1,0 0,0 0,0 0,0 1,-1-1,1 0,0 1,0-1,0 1,0-1,0 1,0-1,-1 1,1 0,0-1,-1 1,1 0,0 0,-1-1,1 1,0 2,2 2,0 1,0 0,-1-1,0 1,0 0,0 0,-1 0,0 1,0 7,0 10,-2 27,-1-23,2 12,0-14,-3 28,2-46,-1 0,1 0,-1 0,-1 0,0 0,0 0,-7 11,-4 3,0 0,-32 34,36-45,-1 0,-1-1,0-1,0 0,-1 0,-15 6,-11 4,18-10,-32 20,52-28,0-1,0 1,0 0,0 0,0 0,0 0,0 0,0 0,0 0,1 0,-1 0,-1 2,2-3,0 1,0-1,0 0,0 0,0 0,0 0,0 0,0 0,0 0,0 0,0 0,0 1,0-1,0 0,0 0,0 0,0 0,0 0,1 0,-1 0,0 0,0 0,0 1,0-1,0 0,0 0,0 0,0 0,0 0,0 0,0 0,0 0,0 0,1 0,-1 0,0 0,0 0,0 0,0 0,0 0,0 0,0 0,0 0,0 0,1 0,-1 0,11-4,9-8,-1-1,0-2,-1 0,18-19,4-4,-22 24,23-15,-23 18,20-19,-33 25,1 0,-1-1,0 0,0 0,-1 0,1-1,3-7,-4 1,1 1,-1-1,-1 0,-1 0,1 0,-1-21,7-34,-6 52,1-1,1 1,1-1,0 1,1 1,0-1,15-21,-22 37,0-1,0 1,1-1,-1 1,0 0,0-1,1 1,-1 0,0-1,1 1,-1 0,0-1,1 1,-1 0,0-1,1 1,-1 0,1 0,-1 0,1-1,-1 1,0 0,1 0,-1 0,1 0,-1 0,1 0,-1 0,1 0,-1 0,1 0,0 1,0 0,-1-1,1 1,-1 0,1-1,-1 1,1 0,-1 0,0 0,1 0,-1-1,0 1,0 0,1 2,1 35,-2-36,1 29,-1 20,-6 58,3-95,0 1,-1 0,-1-1,0 0,-1 0,0-1,-1 1,-16 21,9-16,-1 0,-1-1,0-1,-34 28,33-32,-1-2,0 0,0 0,-1-2,0 0,-1-2,0 0,0-1,0-1,-31 4,49-9,0 0,0 0,0 0,0 0,0 0,0 0,0 0,0-1,1 1,-1-1,0 0,0 1,0-1,1 0,-1 0,0 0,1 0,-3-2,2 0,0 1,0 0,1 0,-1-1,1 1,-1-1,1 0,0 1,0-1,0 0,0-4,-1-6,1 0,0 0,1 0,3-19,16-300,-19 318,1 9,-1 1,0-1,0 1,0-1,-1 0,0 1,0-1,0 1,-2-5,3 9,0-1,0 1,-1-1,1 1,0 0,0-1,-1 1,1-1,0 1,0 0,-1 0,1-1,-1 1,1 0,0-1,-1 1,1 0,0 0,-1 0,1-1,-1 1,1 0,-1 0,1 0,-1 0,1 0,0 0,-1 0,1 0,-1 0,1 0,-1 0,1 0,-1 0,1 0,0 1,-1-1,1 0,-1 0,1 0,0 1,-1-1,1 0,-1 0,1 1,0-1,-1 0,1 1,-16 18,5 0,1 1,1 0,-10 30,17-45,1 1,0-1,0 0,-1 9,2-13,0 0,0 0,0 0,0 1,0-1,1 0,-1 0,0 0,1 0,-1 0,0-1,1 1,0 2,0-3,-1 1,1-1,-1 0,1 1,-1-1,1 0,-1 0,1 1,-1-1,1 0,0 0,-1 0,1 0,-1 1,1-1,0 0,-1 0,1 0,-1 0,1-1,0 1,-1 0,1 0,-1 0,2-1,1 0,-1 0,1 0,-1 0,1-1,-1 1,1-1,-1 0,0 0,0 0,1 0,-2 0,1 0,0 0,0-1,-1 1,1-1,-1 1,0-1,0 0,0 1,0-1,0 0,0 0,-1 0,1-3,0-9,0 1,-1 0,-4-26,4 38,-14-415,14 334,0 78,0 0,1 0,-1 0,1 0,0 0,0 0,0 0,4-8,-3 10,0 0,0 0,0 0,1 0,-1 1,1-1,-1 1,1-1,0 1,0 0,0 0,0 0,4-1,106-44,-108 45,-1 1,0-1,1 1,-1 0,1 1,-1-1,1 1,0 0,-1 0,1 1,-1-1,1 1,-1 0,1 0,-1 0,0 1,1 0,-1 0,0 0,0 0,0 0,-1 1,1 0,0 0,-1 0,0 0,0 0,0 1,5 7,30 65,-15-27,-22-46,1-1,-1 1,0-1,0 1,0 0,-1 0,1-1,-1 1,1 0,-1 0,0 4,0-6,-1 0,1 1,-1-1,1 0,-1 1,1-1,-1 0,0 0,0 0,0 0,0 0,0 0,0 0,0 0,0 0,0 0,0 0,0 0,-1-1,1 1,0-1,0 1,-1-1,1 1,-2-1,-43 15,1 2,1 2,0 2,-61 39,96-53,1 1,0 0,0 0,0 1,-11 17,-7 9,9-15,1 2,1 0,1 1,-17 35,26-46,-4 7,0 1,-10 39,17-53,1 1,0-1,1 1,-1-1,1 1,0-1,1 1,-1-1,2 1,-1-1,0 0,1 1,0-1,4 6,1 1,1 0,1-1,20 22,-19-23,0 1,-1 0,11 17,-19-26,0-1,-1 0,1 0,0 0,-1 0,1 1,-1 1,-2 3,1-7,1 0,0 0,-1 0,1 0,-1 0,1 0,0 0,-1 0,1 0,-1 0,1 0,0 0,-1 0,1 0,-1-1,1 1,0 0,-1 0,1 0,0-1,-1 1,-9-8,0-1,0 1,1-2,0 1,1-1,-9-14,-15-16,13 20,-44-33,13 11,60 52,0 1,-1 0,-1 0,11 19,22 55,-38-78,1 2,0-1,1 1,0-1,0 0,1-1,0 1,0-1,1 0,0-1,8 7,-10-10,-1 0,1-1,-1 1,1-1,0 0,0 0,0 0,0-1,0 0,0 0,0 0,0-1,1 0,-1 1,0-2,0 1,0-1,1 0,8-2,-5-1,0 1,0-2,-1 1,1-1,-1 0,0-1,-1 1,1-2,-1 1,-1-1,1 0,-1 0,0-1,7-12,3-9,-1-2,20-56,-5 13,-23 58,-7 16,0 0,0 0,0 0,0 0,0 0,0 0,1 0,-1 0,0-1,0 1,0 0,0 0,0 0,0 0,0 0,0 0,0 0,0 0,0 0,0 0,0 0,0 0,0 0,0-1,1 1,-1 0,0 0,0 0,0 0,0 0,0 0,0 0,0 0,0 0,0 0,1 0,-1 0,0 0,0 0,0 0,0 0,0 0,0 0,0 0,0 0,0 0,0 0,1 1,-1-1,0 0,0 0,0 0,0 0,0 0,0 0,2 8,-3 9,-1-2,0-1,-2 0,0-1,-11 26,15-39,0 1,0-1,0 0,0 0,0 0,0 0,0 0,0 0,0 1,0-1,0 0,0 0,0 0,0 0,0 0,0 0,0 0,0 1,0-1,-1 0,1 0,0 0,0 0,0 0,0 0,0 0,0 0,0 0,0 0,-1 0,1 0,0 0,0 0,0 0,0 1,0-1,0 0,-1 0,1 0,0 0,0-1,0 1,0 0,0 0,0 0,-1 0,1 0,0 0,-3-8,2-12,1 12,1-1,0 1,3-12,-3 17,-1-1,1 1,1 0,-1 0,0 0,1 1,-1-1,1 0,0 0,0 1,4-5,-6 7,1 0,-1 0,0-1,1 1,-1 0,0 0,1-1,-1 1,0 0,1 0,-1 0,1 0,-1-1,0 1,1 0,-1 0,1 0,-1 0,1 0,-1 0,0 0,1 0,-1 0,1 0,-1 0,0 1,1-1,-1 0,1 0,-1 0,0 0,1 1,-1-1,0 0,1 0,-1 1,0-1,0 0,1 1,-1-1,0 0,0 1,1-1,-1 0,0 1,0-1,0 0,0 1,1-1,-1 1,0-1,0 0,0 2,4 22,-4-24,2 72,-3-51,1 0,1 1,2-1,6 31,-6-41,0 0,-1 1,0-1,-1 1,0 18,-1-26,0 1,-1-1,0 1,0-1,0 1,0-1,-1 0,1 1,-1-1,0 0,-1 0,1 0,-1-1,1 1,-1-1,-7 7,10-9,-1-1,1 1,-1-1,1 0,-1 1,1-1,-1 1,1-1,-1 0,0 0,1 1,-1-1,1 0,-1 0,0 0,1 0,-1 0,-1 1,2-2,0 1,-1 0,1 0,0 0,-1-1,1 1,0 0,0 0,-1 0,1-1,0 1,0 0,0-1,-1 1,1 0,0 0,0-1,0 1,0 0,0-1,-1 1,1 0,0-2,0 0,0-1,0 0,0 1,0-1,0 0,0 1,2-4,2-6,0 1,12-22,-9 20,9-25,-3-6,-8 26</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02T14:55:26.157"/>
    </inkml:context>
    <inkml:brush xml:id="br0">
      <inkml:brushProperty name="width" value="0.3" units="cm"/>
      <inkml:brushProperty name="height" value="0.6" units="cm"/>
      <inkml:brushProperty name="color" value="#FFC997"/>
      <inkml:brushProperty name="tip" value="rectangle"/>
      <inkml:brushProperty name="rasterOp" value="maskPen"/>
      <inkml:brushProperty name="ignorePressure" value="1"/>
    </inkml:brush>
  </inkml:definitions>
  <inkml:trace contextRef="#ctx0" brushRef="#br0">360 162,'-15'1,"-29"5,31-3,-28 0,40-3,0 1,-1-1,1 0,0-1,0 1,0 0,-1 0,1 0,0-1,0 1,0 0,0-1,0 1,0-1,0 0,0 1,0-1,0 0,0 1,0-1,0 0,-1-2,2 2,-1 0,1 0,0 0,0 0,0 0,0 0,0 0,0 0,0 0,0 0,1-1,-1 1,0 0,1 0,-1 0,0 0,1 0,-1 1,1-1,0 0,-1 0,1 0,0 0,-1 0,1 1,1-2,11-8,-1 0,2 1,-1 0,1 1,1 0,24-8,-38 21,-1-4,-1 0,1 0,0 0,0-1,0 1,0 0,0 0,1 0,-1-1,0 1,0 0,0 0,1-1,-1 1,0 0,1 0,2 1,-1 0,0-1,1 1,0-1,-1 0,1 0,0 0,-1 0,1-1,0 1,0-1,0 1,-1-1,1 0,4 0,6-1,26-5,-30 4,4 0,7-1,0-1,0-1,0-1,29-12,-32 9,1 0,0 2,0 0,1 1,0 1,30-4,-48 9,0 0,0 0,1 0,-1 0,0 0,0 0,1 0,-1 1,0-1,0 0,0 1,0-1,1 1,-1-1,0 1,0 0,0-1,0 1,0 0,1 1,-1 0,0-1,0 1,0 0,0-1,-1 1,1 0,-1-1,1 1,-1 0,1 0,-1 0,0 2,0 6,-1-1,0 0,-1 0,-3 13,-7 33,-7 25,16-71,0 0,0-1,-1 0,-1 0,1 0,-12 14,-31 42,34-45,-1 0,-1-1,-24 24,-18 5,-14 14,-25 19,95-79,0 0,0 0,0-1,0 1,-1 0,1-1,0 1,0 0,-1-1,1 1,0-1,-1 0,1 0,-1 1,1-1,0 0,-1 0,-1 0,3-1,-1 1,0-1,0 1,0 0,0-1,1 0,-1 1,0-1,0 1,1-1,-1 0,1 0,-1 1,1-1,-1 0,1 0,-1 0,1 1,-1-1,1-1,-2-4,1 0,0-1,0 1,0 0,1 0,1-11,3-21,1 1,2 0,14-42,-13 58,-8 20,0 1,0 0,0 0,0 0,0-1,0 1,0 0,1 0,-1 0,0-1,0 1,0 0,0 0,0 0,0 0,0 0,1-1,-1 1,0 0,0 0,0 0,0 0,0 0,1 0,-1 0,0 0,0-1,0 1,1 0,-1 0,0 0,0 0,0 0,0 0,1 0,-1 0,0 0,0 0,0 0,1 0,-1 0,0 0,0 1,4 8,-4 15,-1-23,1 0,0 1,0-1,-1 0,1 0,0 0,-1-1,1 1,-1 0,1 0,-1 0,0 0,1 0,-1 0,0-1,0 1,1 0,-1-1,0 1,0-1,0 1,0-1,0 1,0-1,0 1,0-1,0 0,0 1,0-1,0 0,0 0,0 0,0 0,0 0,0 0,0 0,0 0,0-1,0 1,-1-1,-2 0,1 0,0-1,0 1,0-1,0 0,1 0,-1 0,0 0,1 0,-1-1,-2-3,-7-12,1 0,-9-23,-14-21,33 61,0-1,1 1,-1-1,0 1,-1 0,1-1,0 1,0 0,-1 0,1 0,0 0,-1 0,1 0,-1 0,1 1,-1-1,1 0,-1 1,0 0,-3-1,4 1,-1 0,0 1,0-1,1 0,-1 1,0 0,1-1,-1 1,1 0,-1 0,1 0,-1 0,1 0,0 0,0 1,-1-1,1 0,0 1,-2 2,0 2,-1 0,1 1,0-1,0 1,1 0,-1 0,2 0,-1 0,1 0,-1 8,1 12,3 38,-1-29,1 35,-12 107,5-129,3 0,3 60,2-85,1-1,1 0,8 24,8 39,-20-79,0-1,1 1,0-1,0 1,0-1,1 0,0 0,0 0,0 0,1 0,0-1,0 0,6 6,-3-3,-1-1,1 2,-2-1,1 1,-1-1,7 17,-7-10,0 0,-1 1,4 25,-7-28,2 1,-1-1,2-1,0 1,0 0,12 21,-13-29,-1-1,1 0,0 0,0-1,0 1,1-1,-1 1,1-1,0 0,0-1,0 1,0-1,1 1,-1-1,1 0,-1-1,1 1,0-1,-1 0,1 0,0-1,7 1,-6-1,0-1,1 0,-1 0,0 0,0-1,0 0,0 0,0 0,-1-1,1 0,-1 0,1-1,-1 1,7-8,-7 7,0 0,-1-1,1 0,-1 0,-1 0,1 0,-1 0,1-1,-2 0,1 0,-1 0,0 0,0 0,2-9,-3 1,0 0,-1 1,0-1,-1 1,-1-1,0 1,0-1,-2 1,0 0,0 0,-8-14,-12-28,-18-34,36 80,2 0,-1 0,1 0,1 0,0-1,0 1,1-1,0 0,0 0,1 0,1 0,0 0,1-11,-1 19,0 1,0-1,0 1,1-1,-1 1,0 0,1-1,-1 1,1-1,-1 1,1 0,0 0,0-1,0 1,-1 0,1 0,0 0,0 0,0 0,1 0,-1 0,0 0,0 0,0 1,1-1,-1 0,0 1,1-1,-1 1,1 0,-1-1,0 1,1 0,-1 0,1 0,-1 0,1 0,-1 0,1 0,1 1,3 0,0 0,-1 1,1 0,-1 0,0 0,0 1,0 0,0 0,5 4,27 17,-31-21,-1 0,1 1,0-1,-1 1,0 1,0-1,0 1,-1-1,0 1,6 9,0 5,-2 0,0 1,-1 0,6 31,-9-27,2 44,-5-47,1 1,6 27,-6-42,0 1,0-1,1 0,1 0,-1 0,1 0,0 0,0-1,1 0,6 8,-8-11,7 6,-1 1,0 0,-1 1,10 17,-17-26,1 1,-1-1,0 1,0-1,0 0,0 1,-1 0,1-1,-1 1,1-1,-1 1,0 0,0-1,0 1,0 0,-1-1,1 1,-1 0,0-1,1 1,-1-1,0 1,0-1,-1 0,1 1,0-1,-1 0,0 0,1 0,-3 2,-9 6,0 0,0-1,0 0,-21 8,18-9,0 1,1 0,-21 18,16-10,-30 36,42-43,1 0,0 0,1 0,0 1,1 0,-5 13,8-19,0 3,-1 0,0 0,-1 0,0-1,-6 11,9-16,0-1,0 0,0 0,0 0,0 0,-1 0,1 0,0 0,0 0,-1 0,1-1,-1 1,1 0,0-1,-1 1,1-1,-1 1,0-1,1 0,-1 0,1 0,-1 0,1 0,-1 0,1 0,-1 0,1-1,-1 1,1-1,-1 1,1-1,-1 1,1-1,0 0,-1 0,1 0,-2-1,-4-4,0 0,1-1,-1 0,1 0,1 0,-1-1,-4-9,-7-10,-10-14,2-2,-25-60,44 89,1 0,0 0,1-1,1 1,-3-27,4-74,2 103,1-36,-1-178,-15 108,13 98,-1 0,-1 0,-1 0,0 0,-13-29,-59-84,14 28,59 96,0-1,0 1,1 0,0-1,1 0,-2-13,2-3,1-31,1 51,0-1,1 1,0 0,0-1,1 1,2-7,6-12</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02T14:55:33.664"/>
    </inkml:context>
    <inkml:brush xml:id="br0">
      <inkml:brushProperty name="width" value="0.3" units="cm"/>
      <inkml:brushProperty name="height" value="0.6" units="cm"/>
      <inkml:brushProperty name="color" value="#FFC997"/>
      <inkml:brushProperty name="tip" value="rectangle"/>
      <inkml:brushProperty name="rasterOp" value="maskPen"/>
      <inkml:brushProperty name="ignorePressure" value="1"/>
    </inkml:brush>
  </inkml:definitions>
  <inkml:trace contextRef="#ctx0" brushRef="#br0">360 302,'4'0,"0"0,0-1,0 0,0 0,0 0,0 0,0-1,0 1,4-3,32-23,-22 15,-14 9,0 0,0 1,-1-1,1 0,-1-1,1 1,-1-1,0 1,4-8,-6 8,0 0,0 0,0-1,0 1,-1 0,1 0,-1-1,0 1,0 0,0-1,0 1,-1-1,1 1,-3-6,1-2,-2 0,0 0,0 0,0 1,-2 0,1 0,-13-17,14 22,0 1,0 0,-1-1,1 1,-1 0,0 1,0-1,0 1,-1 0,1 1,-1-1,1 1,-1 0,0 0,0 1,-9-1,5 0,0 2,0 0,1 0,-1 0,0 1,-13 3,18-2,-1 0,1 0,0 0,-1 1,1 0,0 0,0 0,1 0,-1 1,1 0,-8 8,7-6,0 0,1 1,0-1,0 1,1 0,0 0,0 0,0 1,1-1,0 1,-1 14,1 4,1 0,4 33,-1-3,-3 31,3 65,-1-146,0 1,0-1,1 0,-1 0,1 0,1 0,-1-1,1 1,0-1,6 8,4 4,27 26,-9-11,-26-26,1 1,0-2,0 1,0-1,1 0,0 0,10 5,-14-9,-1 1,1-1,0-1,0 1,0 0,0-1,-1 1,1-1,0 0,0 0,0 0,0 0,0 0,0-1,0 0,0 1,-1-1,1 0,0 0,0-1,-1 1,1 0,4-4,-3 1,1 0,-1 0,0 0,0 0,-1-1,1 0,-1 1,0-1,4-9,0-5,9-28,2-7,-17 51,5-9,-1 0,0-1,-1 1,-1-1,0 0,3-24,1-42,0-21,-7 66,0-3,1 1,8-50,-7 73,-2 6,1 1,0-1,1 1,3-10,-5 15,1 0,-1 0,0 1,1-1,-1 0,1 0,-1 0,1 1,0-1,-1 0,1 0,0 1,-1-1,1 1,0-1,0 0,0 1,-1 0,1-1,0 1,0-1,0 1,0 0,0 0,0 0,0-1,0 1,0 0,0 0,0 0,0 0,0 1,0-1,0 0,-1 0,3 1,-2 0,1 0,0 0,-1 0,1 0,-1 0,1 0,-1 0,0 0,1 1,-1-1,0 1,0-1,0 1,0-1,0 1,0 0,-1-1,1 1,-1 0,1 0,0 2,1 5,-1 0,1 18,-2-20,1 36,-8 75,4-94,-2 0,0 0,-2 0,-14 36,16-51,0 0,-1 0,0 0,-1 0,0-1,0 0,-1-1,1 0,-2 0,1 0,-1-1,0 0,-10 4,-1 0,0-1,0-1,-1-1,0-1,-30 5,38-9,0 0,0-1,0-1,-17-1,25 1,1-1,-1 1,1-1,0-1,-1 1,1-1,0 1,0-1,-1-1,2 1,-1 0,0-1,0 0,1 0,-6-5,-13-18,1-1,1-1,1-1,-23-47,11 20,25 4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02T14:56:11.955"/>
    </inkml:context>
    <inkml:brush xml:id="br0">
      <inkml:brushProperty name="width" value="0.2" units="cm"/>
      <inkml:brushProperty name="height" value="0.4" units="cm"/>
      <inkml:brushProperty name="color" value="#A85000"/>
      <inkml:brushProperty name="tip" value="rectangle"/>
      <inkml:brushProperty name="rasterOp" value="maskPen"/>
      <inkml:brushProperty name="ignorePressure" value="1"/>
    </inkml:brush>
  </inkml:definitions>
  <inkml:trace contextRef="#ctx0" brushRef="#br0">533 331,'35'0,"-1"-1,1-2,34-8,-36 4,-12 4,-1-2,26-9,-44 13,0 1,-1-1,1 0,0 0,0-1,0 1,-1 0,1-1,-1 1,1-1,1-1,-3 3,0-1,1 1,-1-1,0 1,0 0,0-1,0 1,0-1,1 1,-1-1,0 1,0-1,0 1,0 0,0-1,0 1,0-1,-1 1,1-1,0 1,0-1,-1 0,1 0,-1 1,1-1,-1 0,0 1,1-1,-1 0,0 1,1-1,-1 1,0-1,0 1,0-1,-1 1,-7-4,0 1,0 1,-1 0,1 0,-15-1,-53 2,47 1,-406 2,426-2,0 1,0 0,-1 0,1 1,0 0,0 1,1 0,-12 5,18-6,-1 0,0 0,0 0,1 1,-1-1,1 1,0 0,0 0,0 0,0 0,0 0,1 1,-1 0,1-1,0 1,0 0,1 0,-1 0,1 0,0 0,-2 7,0 33,3-31,-1-1,0 1,-1-1,-6 23,-27 90,35-124,-1 1,0-1,1 0,0 1,-1-1,1 1,0 0,0-1,-1 1,1-1,0 1,1-1,-1 3,0-4,0 0,1 1,-1-1,0 0,0 0,0 0,0 0,1 0,-1 0,0 0,0 1,0-1,1 0,-1 0,0 0,0 0,0 0,1 0,-1 0,0 0,0 0,1 0,-1 0,0 0,0 0,0 0,1 0,-1 0,0-1,13-6,7-6,1 2,42-18,-31 15,0-1,102-42,-114 50,0 1,0 1,1 1,39-3,-58 7,0-1,-1 1,1 0,0 0,0 1,0-1,-1 0,1 1,0-1,0 1,-1-1,3 2,-4-2,1 1,-1-1,0 0,1 1,-1-1,0 0,0 1,1-1,-1 0,0 1,0-1,0 1,1-1,-1 0,0 1,0-1,0 1,0-1,0 1,0 0,-5 13,-1-4,0-2,-1 1,0-1,-14 13,-37 27,23-20,16-13,2 1,0 1,1 0,0 1,2 0,-13 22,26-38,-1 0,1 0,0 0,0 1,1-1,-1 0,0 1,0 2,1-4,0-1,0 0,0 1,0-1,0 0,0 0,0 1,1-1,-1 0,0 1,0-1,0 0,0 0,0 1,1-1,-1 0,0 0,0 1,0-1,1 0,-1 0,0 0,0 1,1-1,-1 0,1 0,0 0,0 1,0-1,0 0,0 0,1 0,-1 0,0 0,0 0,0 0,0 0,2-1,15-5,0 0,0-1,0-1,16-10,9-4,183-91,-219 110,-3 0,0 0,1 1,-1-1,1 1,0 0,0 1,0-1,0 1,0 0,7 0,-12 1,1 0,-1 0,1 0,0 0,-1 0,1 0,-1 1,1-1,-1 0,1 0,0 1,-1-1,0 0,1 1,-1-1,1 1,-1-1,1 0,-1 1,0-1,1 1,-1-1,0 1,1-1,-1 1,0-1,0 1,1 0,-1-1,0 1,0-1,0 1,0 0,0-1,0 1,0-1,0 1,0 0,0-1,0 1,0-1,-1 1,1-1,0 1,0 0,-1-1,1 1,-2 4,0 0,-1 0,-5 8,-2 3,-25 25,4-5,-133 197,151-212,9-16,2 0,-1-1,0 1,0-1,0 0,0 0,-1-1,1 1,-1-1,0 1,-8 4,12-8,0 0,-1 0,1 0,0 0,-1 0,1 0,0 0,-1 1,1-1,0 0,-1 0,1 0,0 0,-1 0,1-1,0 1,-1 0,1 0,0 0,-1 0,1 0,0 0,0 0,-1-1,1 1,0 0,-1 0,1 0,0-1,0 1,-1 0,1 0,0-1,0 1,0 0,0-1,-1 1,1 0,0-1,0 1,0 0,0-1,-1-4,0 0,0 1,1-1,-1 0,1 0,0 0,1-5,7-40,-5 32,3-13,-6 25,-2 6,-7 10,-13 23,20-31,-30 46,14-22,-18 34,36-59,-1 0,1 0,-1 0,1 0,-1 0,1 0,-1 0,0-1,1 1,-1 0,0 0,0 0,0-1,1 1,-3 1,-1-7,-1-9,-29-299,34 323,-2 60,2-63,-1-1,0 1,-1 0,0-1,0 1,0-1,-1 0,-3 7,6-13,0 1,-1 0,1-1,0 1,-1 0,1-1,-1 1,1-1,-1 1,1-1,-1 1,0-1,1 0,-1 1,1-1,-1 0,0 1,1-1,-1 0,0 0,1 0,-1 1,0-1,-1 0,1 0,0-1,0 1,-1-1,1 1,0-1,0 1,0-1,0 1,-1-1,1 0,0 0,0 0,0 0,-6-6,2 0,-1-1,-6-10,7 9,-26-40,18 27,-27-36,39 57,1 0,-1 0,0 0,1 1,-1-1,0 0,0 1,1-1,-1 0,0 1,0-1,0 1,0 0,0-1,0 1,0 0,-1-1,2 1,-1 0,1 0,-1 0,1 1,-1-1,1 0,-1 0,1 0,0 1,-1-1,1 0,-1 1,1-1,0 0,-1 1,1-1,0 0,0 1,-1-1,1 1,0-1,0 0,-1 1,1 0,-2 4,1 0,0 0,0 0,-1 9,0 39,5 66,-1-102,0 0,2-1,-1 1,9 21,31 62,7-9,-30-56,23 51,-38-74,2 0,12 18,-13-21,0 0,-1 1,0-1,0 1,3 10,6 35,-14-55,0 0,0 1,0-1,0 0,0 0,1 1,-1-1,0 0,0 0,0 1,1-1,-1 0,0 0,0 0,0 1,1-1,-1 0,0 0,0 0,1 0,-1 0,0 1,1-1,-1 0,0 0,0 0,1 0,-1 0,0 0,1 0,-1 0,0 0,0 0,1 0,-1 0,0 0,1 0,-1-1,0 1,0 0,1 0,-1 0,0 0,0 0,1-1,-1 1,0 0,0 0,1 0,-1-1,18-15,-7 6,14-6,0 1,45-19,14-7,165-98,-240 135,0 0,0 0,0 1,1 0,0 0,14-1,59 0,-54 4,28-5,18-2,118 4,-119 4,-36 3,-29-3,1 0,-1 0,11-1,-18-1,-1 1,0-1,0 1,1 0,-1-1,0 0,0 1,0-1,1 0,-1 0,0 0,0 1,0-1,0 0,-1 0,1-1,0 1,0 0,-1 0,1 0,0-2,11-30,-11 28,9-33,-3-1,-1 1,-1-1,-2-63,-4-282,1 378,-1 0,1-1,-2 1,1 0,-1 0,0 0,0 0,0 0,-5-8,-5-5,-18-24,5 9,16 21,-2 0,0 0,0 1,-2 0,-13-10,0 3,-48-27,2 12,6 4,43 18,-1 2,0 1,-1 0,0 2,0 1,-40-4,46 7,1-1,-25-8,23 6,-23-4,35 8,0 2,1-1,-1 1,0 0,0 0,-12 3,11-1,1 1,-1-1,1 2,0-1,-1 1,2 0,-15 10,3 1,-26 27,-1 1,41-38,-6 4,-16 18,24-24,2-1,-1 0,0 0,0 1,1-1,0 1,-1 0,1-1,0 1,0 0,0 0,1-1,-1 1,1 0,-1 3,1-5,1 0,-1 0,0 0,0 1,1-1,-1 0,1 0,-1 0,1 0,-1 0,1 0,0 0,-1 0,1-1,0 1,0 0,0 0,-1 0,1-1,0 1,0-1,2 2,1 0,1 0,0 0,10 2,11 1,1-1,36 2,58-5,-77-2,176-1,-216 1,0 2,0-1,-1 0,1 1,0 0,6 1,-9-1,1 0,-1 0,0-1,1 1,-1 0,0 0,0 0,0 0,0 0,0 1,0-1,0 0,0 0,0 1,-1-1,1 0,0 1,-1-1,1 1,-1 1,2 5,-1 0,0 0,-1 1,0-1,0 0,-1 0,0 0,-1 0,1 0,-1 0,-1 0,0-1,0 1,0-1,-1 0,-8 13,0-3,-1 0,-1-1,0 0,-1-1,-23 18,-134 86,147-103,22-15,-10 10,13-6,10-1,-3-2,-1-1,1-1,-1 1,1-1,0-1,8 0,44-11,-59 12,58-15,83-34,49-36,-178 79,-8 3,0 1,1 0,0 0,-1 0,1 0,0 1,0 0,7-1,-10 3,-6 4,-10 7,0-1,-1 0,-1-1,-20 10,-12 8,3 3,-41 38,17-13,66-54,-14 11,17-13,-1 1,0-1,1 1,-1-1,0 1,0-1,1 0,-1 0,0 1,0-1,1 0,-1 0,0 0,0 0,0 0,1 0,-1 0,-1 0,2 0,-1-1,1 1,0-1,0 1,0-1,0 1,-1 0,1-1,0 1,0-1,0 1,0-1,0 1,0-1,0 1,0-1,1 1,-1-1,0 1,0 0,0-1,0 1,1-1,-1 1,0 0,0-1,1 1,-1-1,10-14,-3 5,1 0,1 0,0 1,0 1,18-13,-10 9,1 1,31-15,-45 24,1 1,0-1,-1 0,1 1,0 0,0 0,0 1,7-1,-10 1,-1 0,0 0,0 0,0 0,0-1,0 1,0 0,0-1,0 1,0-1,0 1,0-1,0 0,0 1,0-1,0 0,-1 0,1 1,0-1,1-1,10-23,-4 8,1 2,0 1,1-1,18-19,-24 30,-1 1,1 0,-1-1,1 1,0 1,0-1,0 1,1-1,-1 1,1 0,-1 1,1-1,-1 1,1 0,0 0,0 0,0 1,4 0,-7 0,0 0,0 0,0 1,0-1,0 1,0 0,0-1,0 1,-1 0,1 0,0 0,-1 0,1 1,0-1,2 3,-2-1,1 1,0-1,-1 1,0 0,0 0,3 7,-1 3,0-1,-1 1,2 22,-2 12,-6-85,3 0,0 1,9-58,-7 89,-1 5,2 10,2 5,-5-14,0-1,0 0,1 0,-1 0,0 0,0 1,0-1,0 0,0 0,0 0,0 0,0 1,0-1,1 0,-1 0,0 0,0 0,0 0,0 0,0 0,1 1,-1-1,0 0,0 0,0 0,0 0,1 0,-1 0,0 0,0 0,0 0,1 0,-1 0,0 0,0 0,0 0,0 0,1 0,-1 0,0 0,0 0,0 0,0-1,1 1,-1 0,0 0,0 0,0 0,0 0,1 0,-1 0,0-1,0 1,0 0,0 0,0 0,0 0,0-1,0 1,18-33,-14 24,1 1,7-13,-2 8,1 0,23-23,-29 31,1 1,1-1,-1 1,0 0,1 0,0 1,0 0,13-4,-17 7,0-1,0 0,0 1,0 0,0 0,0 0,-1 0,1 0,0 1,0-1,0 1,0 0,0 0,4 2,-3-1,0 0,-1 1,1-1,-1 1,1 0,-1 0,0 0,5 8,-1-1,-1 1,0 0,-1 1,0-1,-1 1,3 12,-2-5,-2 0,0 0,0 27,-5 60,0-29,2-33,-2 62,1-94,-1 1,0-1,-1 0,0 0,-1-1,-8 18,-22 46,-7 12,38-79,-1-1,-1 0,1 0,-1 0,-11 11,14-16,0-1,0 1,0-1,0 1,0-1,-1 0,1 0,-1 0,1 0,0 0,-1 0,0-1,1 1,-1-1,1 0,-1 0,0 0,1 0,-1 0,1 0,-1-1,-4-1,-2-1,1 0,-1 0,1-1,0-1,0 0,-8-6,-42-39,21 17,29 27,0-1,0 0,1 0,0 0,1-1,0 0,0 0,0-1,-8-17,-24-60,38 86,0-1,0 1,-1 0,1-1,0 1,0 0,0-1,0 1,0 0,-1-1,1 1,0 0,0 0,-1-1,1 1,0 0,0 0,-1-1,1 1,0 0,-1 0,1 0,0-1,0 1,-1 0,1 0,-1 0,1 0,0 0,-1 0,1 0,-1 0,0 0,1 1,-1-1,1 1,-1-1,1 1,-1 0,1-1,0 1,-1 0,1-1,0 1,-1 0,1-1,0 2,-6 28,5-21,0-1,1 0,0 1,1-1,0 0,0 1,1-1,0 0,0 0,5 11,-4-13,0-1,0 0,0 1,1-1,0-1,0 1,0-1,0 1,1-1,0 0,0-1,0 1,0-1,11 5,-11-7,0 2,0-1,0 1,0-1,-1 1,1 0,-1 1,0-1,0 1,0 0,0 0,3 5,-6-8,-1-1,0 1,0-1,1 1,-1 0,0-1,0 1,0-1,0 1,0-1,0 1,0-1,0 1,0-1,0 1,0 0,0-1,0 1,-1-1,1 1,0-1,0 1,-1-1,1 1,0-1,0 1,-1-1,1 0,-1 1,1-1,0 1,-1-1,1 0,-1 1,1-1,-1 0,1 0,-1 1,1-1,-1 0,1 0,-1 0,1 0,-2 1,-26 3,27-4,-8 1,-1 0,0-1,0 0,0-1,1 0,-1-1,0 0,1 0,-1-1,-9-4,7 1,-1 0,0 1,0 0,-23-4,11 3,0 0,-29-13,35 11,0 2,0 0,-1 1,-38-5,31 10,18 0,1 0,-17-2,22 1,1 0,-1 1,0-1,0 0,1-1,-1 1,1 0,-1-1,1 1,-1-1,1 0,-3-3,1 1,0 1,0-1,0 1,-1 0,1 0,-1 0,1 0,-1 1,0 0,0 0,-6-1,0 1,0 0,0 1,-1 0,-14 1,12 0,14 0,0 0,1 0,-1 0,0 0,0 0,0 0,0 0,0 0,0 0,0 0,0-1,0 1,0 0,0 0,0 0,0 0,0 0,0 0,0 0,1 0,-1 0,0 0,0 0,0 0,0 0,0 0,0 0,0 0,0 0,0 0,0 0,0 0,0 0,0-1,0 1,0 0,0 0,0 0,0 0,0 0,0 0,0 0,0 0,0 0,0 0,0 0,0 0,0 0,0 0,0 0,0-1,0 1,0 0,0 0,0 0,0 0,0 0,-1 0,1 0,0 0,0 0,0 0,30-9,57-13,241-72,-316 90,4-2,32-7,-42 12,-1 0,1 1,0-1,0 1,0 0,-1 1,1 0,0 0,8 2,14 7,0-1,1-2,0-1,55 4,-80-10,0 0,-1 0,1-1,0 0,0 1,-1-1,1-1,-1 1,7-3,-9 3,-1 1,1-1,0 1,0-1,-1 1,1-1,0 0,-1 1,1-1,0 0,-1 0,1 1,-1-1,1 0,-1 0,0 0,1 0,-1 0,0 1,0-1,0 0,1 0,-1 0,0 0,0 0,0 0,0 0,-1 0,1 0,0 0,0 0,-1 1,1-1,0 0,-1 0,1 0,0 0,-1 1,0-1,1 0,-1 0,1 1,-1-1,-1-1,-14-12,-3 0</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02T14:56:27.437"/>
    </inkml:context>
    <inkml:brush xml:id="br0">
      <inkml:brushProperty name="width" value="0.2" units="cm"/>
      <inkml:brushProperty name="height" value="0.4" units="cm"/>
      <inkml:brushProperty name="color" value="#A85000"/>
      <inkml:brushProperty name="tip" value="rectangle"/>
      <inkml:brushProperty name="rasterOp" value="maskPen"/>
      <inkml:brushProperty name="ignorePressure" value="1"/>
    </inkml:brush>
  </inkml:definitions>
  <inkml:trace contextRef="#ctx0" brushRef="#br0">534 266,'-51'4,"40"-3,9-1,0 1,0-1,1 0,-1 0,0-1,1 1,-1 0,0-1,1 1,-1-1,0 1,1-1,-1 0,1 1,-1-1,1 0,-1 0,1 0,0 0,0 0,-1-1,1 1,-2-3,-1-2,1-1,-1 1,1-1,-3-10,-4-8,6 18,0 0,-1 0,0 0,0 1,-1 0,0 0,0 0,0 1,0 0,-10-6,4 4,-1 0,1 1,-1 1,0-1,-17-3,27 8,-1 1,1-1,-1 0,0 1,1 0,-1 0,0 0,1 0,-1 1,0-1,-6 3,8-2,0 0,0 0,0 0,0 0,0 1,1-1,-1 0,0 1,1-1,-1 1,1 0,0-1,-1 1,1 0,0 0,0 0,0 0,0 0,1 0,-1 0,0 3,-2 14,1 0,1 1,0-1,5 35,-1 2,-4 33,0-38,6 65,-1-94,1 0,13 37,0-4,-13-41,0 0,1 0,0-1,1 0,1 0,0-1,1 0,0 0,1-1,0-1,15 14,-20-20,1-1,-1 1,1-1,0 0,0 0,0-1,0 1,0-2,0 1,1 0,10 0,6-1,46-2,-29-1,-32 2,1-1,-1 1,0-1,0-1,0 0,14-4,-19 4,0 1,0 0,-1-1,1 0,-1 1,1-1,-1 0,0-1,0 1,0 0,0 0,0-1,0 1,0-1,-1 0,0 0,1 1,-1-1,0 0,0 0,0-5,5-33,1-47,-6 68,-2-32,0 40,1-1,0 1,1-1,0 1,6-24,-4 31,-1 8,0 9,1 151,-4-99,1-64,0 1,0-1,0 0,0 0,0 0,0 0,0 0,0 1,0-1,0 0,0 0,0 0,0 0,0 0,0 1,0-1,0 0,0 0,0 0,0 0,0 0,0 1,0-1,0 0,0 0,0 0,0 0,0 0,1 0,-1 0,0 1,0-1,0 0,0 0,0 0,0 0,0 0,1 0,-1 0,0 0,0 0,6-5,9-20,-10 16,96-136,-97 139,0 0,0-1,-1 1,0-1,0 0,-1 0,0 0,0 0,0 0,0-12,0-6,-5-45,1 20,2 39,0-3,0 0,-1 0,0 0,-1-1,-1 1,0 1,-6-18,1 15,-1 0,0 1,-1-1,-1 2,0 0,-1 0,0 1,-25-20,30 27,0 1,-1 0,0 1,0-1,0 1,-15-4,-55-12,62 16,-2 0,-1 0,1 2,-21-1,32 3,1 0,-1 1,1-1,-1 2,0-1,1 1,0 0,-1 0,1 0,0 1,0 0,-6 4,-13 11,0 0,2 1,0 2,-36 42,52-53,1 0,1 1,0 0,0 0,1 0,0 0,1 1,-2 12,1-3,-9 22,12-42,1 0,0 0,0 0,-1 0,1 0,-1 0,1-1,-1 1,1 0,-1 0,0 0,1 0,-1-1,0 1,-1 1,1-2,0 0,0 0,0 0,0 0,0-1,0 1,0 0,0 0,0-1,0 1,1 0,-1-1,-2 0,2 0,1 1,-1-1,0 1,1 0,-1 0,0-1,0 1,0 0,1 0,-1 0,0 0,0 0,1 0,-1 0,0 0,0 0,0 0,1 0,-1 1,0-1,0 0,1 0,-1 1,0 0,-1-1,1 1,0 1,0-1,0 0,0 0,0 0,0 0,1 1,-1-1,0 0,0 3,-1 2,0 0,1 0,0 0,0 0,0 6,1-1,0 0,1 0,1 0,0 0,0 0,1-1,0 1,10 18,-3-9,1 0,1 0,19 22,-14-17,18 31,-21-32,29 41,-38-59,-1 0,0 1,0-1,-1 1,0 0,0 0,-1 1,0-1,1 8,4 11,-6-23,0 0,1-1,-1 0,0 1,1-1,-1 0,1 0,0 1,0-1,0-1,0 1,0 0,0 0,0-1,1 1,-1-1,0 0,1 0,-1 0,1 0,0 0,-1 0,1-1,0 1,-1-1,4 0,5 1,0-1,-1 0,1-1,-1 0,17-4,-20 3,0 0,-1 0,0 0,0-1,0 0,0 0,0-1,0 1,9-9,-12 8,1 1,-1-1,0 0,0 0,0 0,0-1,-1 1,0-1,1 1,-2-1,1 0,-1 0,2-9,8-46,-6 42,-1-1,-1 0,-1 1,-1-1,-1-24,-1 40,1 1,0-1,-1 0,1 1,-1-1,0 1,0-1,0 1,0-1,0 1,-1 0,1-1,-1 1,1 0,-1 0,0 0,0 0,0 1,0-1,-2-1,-1 1,1 0,-1 0,1 1,-1 0,0-1,1 2,-1-1,0 1,0-1,-5 2,4-2,-1 2,1-1,0 1,0 0,-1 0,-7 4,10-4,1 1,0-1,0 1,0 0,0 0,0 0,0 1,1-1,-1 1,1-1,-1 1,-1 4,-4 2,7-9,1 0,0 0,0 0,0 0,0 0,0 0,0 0,0 0,0 0,-1 0,1 0,0 0,0 0,0 0,0 0,0 0,0 0,0 0,0 0,-1 0,1 0,0 0,0 0,0 0,0 0,0-1,0 1,0 0,0 0,0 0,0 0,-1 0,1 0,0 0,0 0,0 0,0 0,0-1,0 1,0 0,0 0,0 0,0 0,0 0,0 0,0 0,0-21,0 13,1-1,-1 0,0 0,-1 0,-3-14,3 18,0 1,-1 0,1 0,-1 0,0 0,0 0,-1 0,1 1,-1-1,0 1,1 0,-5-4,-6-3,0 1,0 1,-25-13,-13-7,40 21,4 2,-1 0,0 0,0 1,-12-5,19 8,-1 1,1-1,0 1,-1 0,1-1,-1 1,1 0,0 0,-1 0,1 0,-1 0,1 0,-1 0,1 0,0 1,-1-1,1 1,-1-1,1 1,0-1,0 1,-1 0,1 0,0-1,0 1,0 0,0 0,0 0,0 0,0 0,0 0,0 1,0-1,0 2,-2 3,1 0,0 0,1 0,-1 0,1 0,0 12,1 41,1-37,3 141,-4-157,1-1,0 1,1-1,-1 1,1-1,0 0,0 1,0-1,1 0,0-1,0 1,7 8,3 1,0-1,24 17,7 9,-29-25,0 1,-1 1,17 25,-28-35,2-1,-1 1,0-1,1 0,0 0,0-1,1 0,-1 0,1 0,0 0,0-1,0 0,0 0,1-1,-1 1,12 1,0-1,0-1,1 0,-1-1,38-4,-50 2,1 0,-1-1,0 1,0-1,1-1,-1 1,9-7,40-27,-43 27,-7 5,-1 1,0-1,0 0,0 0,0 0,-1 0,0 0,0-1,5-9,-4 4,0-1,-1 1,4-22,-3 11,1 0,1 0,15-34,-21 54,1 0,-1 0,1 0,-1 0,1 0,-1 0,1 1,-1-1,1 0,0 0,-1 1,1-1,1-1,-1 2,-1 0,0 0,0 0,0 0,1 0,-1 1,0-1,0 0,1 0,-1 0,0 0,0 0,0 0,0 1,1-1,-1 0,0 0,0 0,0 0,0 1,0-1,1 0,-1 0,0 1,0-1,0 0,0 0,0 0,0 1,0-1,0 0,0 0,0 1,1 3,-1 1,1-1,-1 1,-1 6,0 2,-1-1,0 0,-1 1,-1-1,1-1,-2 1,-8 17,10-24,0-1,-1 1,1 0,-1-1,0 0,0 0,0 0,-1 0,0-1,1 0,-1 0,0 0,0 0,-1-1,1 0,0 0,-1 0,-8 1,-39 5,0-2,-1-3,-64-3,108-1,0 0,0-1,0 0,0-1,1 0,-1 0,1-1,0 0,-14-8,11 4,0-1,0 0,1-1,0 0,1-1,-9-11,-65-95,-2-4,82 115,1 1,0-1,0 0,1 0,0 0,0 0,0 0,1-1,0 1,0-1,0 1,1-1,0 1,0-1,1 1,2-9,-1 5,2 0,-1 0,2 0,-1 0,1 1,1 0,-1 0,1 0,9-9,6-3,25-22,-12 12,-29 27,0-1,0 1,0 0,10-5,2 1</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02T14:56:41.606"/>
    </inkml:context>
    <inkml:brush xml:id="br0">
      <inkml:brushProperty name="width" value="0.1" units="cm"/>
      <inkml:brushProperty name="height" value="0.2" units="cm"/>
      <inkml:brushProperty name="color" value="#A85000"/>
      <inkml:brushProperty name="tip" value="rectangle"/>
      <inkml:brushProperty name="rasterOp" value="maskPen"/>
      <inkml:brushProperty name="ignorePressure" value="1"/>
    </inkml:brush>
  </inkml:definitions>
  <inkml:trace contextRef="#ctx0" brushRef="#br0">464 191,'0'1,"0"-1,0 1,1 0,-1 0,0-1,1 1,-1 0,1-1,-1 1,1 0,-1-1,1 1,-1 0,1-1,-1 1,1-1,0 1,0-1,-1 0,2 1,16 7,-10-6,1 0,-1-1,1 0,-1-1,1 0,-1 0,1-1,-1 0,1 0,-1-1,0 0,15-6,-8 3,-1-2,-1 1,1-2,-1 0,0-1,16-14,-14 10,4-6,1 2,1 1,0 1,40-22,-57 35,29-12,-31 13,0 1,0-1,1 1,-1-1,0 1,0 0,0 0,1 0,-1 0,0 0,0 1,1-1,1 1,-4-1,1 0,-1 0,0 0,0 0,1 0,-1 0,0 0,0 1,0-1,1 0,-1 0,0 0,0 0,0 0,1 0,-1 0,0 1,0-1,0 0,0 0,1 0,-1 0,0 1,0-1,0 0,0 0,0 1,0-1,0 0,0 0,0 0,0 1,1-1,-1 0,0 0,0 1,0-1,-1 0,1 0,0 0,0 1,0-1,0 0,0 0,0 1,0-1,0 0,0 0,-12 9,-2-4,-1 0,1-1,-1-1,-27 4,27-6,0 2,0 0,1 0,-1 1,-20 10,31-13,1 1,0 0,0 1,0-1,0 0,0 1,-3 4,6-7,-1 1,1-1,-1 1,1-1,0 1,-1 0,1-1,0 1,-1 0,1-1,0 1,0 0,-1-1,1 1,0 0,0-1,0 1,0 0,0-1,0 1,0 0,0 0,1-1,-1 1,0 0,0-1,0 1,1 0,-1-1,0 1,1-1,-1 1,1-1,-1 1,1 0,-1-1,1 1,-1-1,1 0,-1 1,1-1,-1 1,1-1,0 0,0 1,5 1,0 0,0 0,0 0,0-1,0 0,0 0,0 0,11-1,-8 0,0-1,0 0,-1 0,1-1,14-5,8-6,-21 8,1 0,0 1,0 1,0-1,0 2,14-3,91 5,-77 1,77-7,27-16,-110 20,44 1,-71 1,-157 1,149-1,-1 0,1 1,0-1,0 1,0-1,0 1,-1 0,1-1,0 1,0 0,1 1,-1-1,0 0,-3 3,5-4,-1 1,1 0,-1 0,1 0,-1 0,1-1,-1 1,1 0,0 0,0 0,-1 0,1 0,0 0,0 0,0 0,0 0,0 0,0 0,0 0,0 0,1 0,-1 0,0 0,1 0,-1-1,0 1,1 0,-1 0,1 0,-1 0,1-1,0 1,-1 0,1 0,1 0,4 4,0 0,0 0,0-1,0 0,1-1,-1 1,13 4,-11-6,0 2,-1-1,0 1,1 0,-2 1,8 5,-13-10,-1 1,1-1,-1 0,1 1,-1-1,1 1,-1-1,0 0,1 1,-1-1,0 1,1-1,-1 1,0 0,1-1,-1 1,0-1,0 1,0-1,0 1,0 0,1-1,-1 1,0-1,0 1,-1 1,1-2,-1 1,1-1,-1 1,0-1,1 1,-1-1,0 0,1 1,-1-1,0 0,1 0,-1 1,0-1,0 0,1 0,-1 0,-1 0,-8 0,1 0,-13-2,18 1,-104-18,76 11,-1 2,-55-3,-178 11,324-39,-44 30,0 1,1 0,0 1,29-6,65-3,-78 11,186-2,-185 6,-977-1,936 0,0 1,-1 0,1 1,0 0,-12 4,-44 20,47-18,9-4,1 0,0 0,1 1,-1 0,-10 9,15-12,0 1,1 0,-1 0,1 0,-1 0,1 0,0 1,0-1,1 1,-1 0,1-1,-1 1,1 0,0 0,0 5,0 24,1-21,0 0,-3 12,2-20,1 0,-2-1,1 1,0 0,-1-1,1 1,-1 0,0-1,0 0,-4 4,-5 8,-2-1,0-1,-1 0,0-1,-16 11,27-22,0 1,0-1,0 1,0-1,0 0,0 0,0 0,0-1,0 1,-1-1,1 1,-5-2,6 1,1 0,-1 0,0-1,1 1,-1-1,1 0,-1 1,1-1,-1 0,1 0,-1 0,1 0,0 0,0 0,0 0,-1-1,1 1,0 0,0-1,1 1,-1-1,0 1,0-1,1 1,-1-1,0-2,-1-5,0-1,1 0,0 0,1-11,0 10,-1 1,0-1,-3-16,-2 9,4 12,0 0,0 0,1-1,0 1,0 0,0-1,1-12,0 18,0 1,0-1,0 0,1 0,-1 0,0 0,1 0,-1 0,1 0,-1 0,1 1,-1-1,1 0,-1 0,1 0,0 1,-1-1,1 1,0-1,0 0,0 1,0-1,-1 1,1 0,0-1,0 1,0 0,0-1,0 1,0 0,0 0,0 0,0 0,0 0,0 0,0 0,0 0,0 0,1 1,4 0,0 1,0-1,0 2,0-1,5 3,1 2,0 0,0 1,-1 0,0 1,-1 0,0 0,0 1,-1 1,0-1,-1 1,0 1,9 19,-15-28,-1 0,1-1,0 1,0-1,0 1,0-1,1 0,-1 0,1 0,-1 0,1 0,0 0,-1-1,1 1,0-1,0 0,0 0,0 0,0 0,1-1,-1 1,4-1,-4 0,1 0,0 0,-1 0,1-1,0 1,-1-1,1 0,-1 0,1 0,-1-1,1 1,-1-1,0 0,0 0,0 0,0 0,0-1,0 1,2-4,-3 3,0 1,0-1,-1 0,1 0,-1 0,0 0,1 0,-1 0,-1-1,2-4,0-32,-2 39,-1-2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02T14:56:44.617"/>
    </inkml:context>
    <inkml:brush xml:id="br0">
      <inkml:brushProperty name="width" value="0.1" units="cm"/>
      <inkml:brushProperty name="height" value="0.2" units="cm"/>
      <inkml:brushProperty name="color" value="#A85000"/>
      <inkml:brushProperty name="tip" value="rectangle"/>
      <inkml:brushProperty name="rasterOp" value="maskPen"/>
      <inkml:brushProperty name="ignorePressure" value="1"/>
    </inkml:brush>
  </inkml:definitions>
  <inkml:trace contextRef="#ctx0" brushRef="#br0">2 1,'-1'25,"1"-9,2 27,-2-38,1 1,1-1,-1 1,1-1,0 0,0 0,0 0,6 9,6 4,1-1,1 0,0-1,1-1,27 20,-40-33,25 23,-23-19,1 0,0 0,0 0,0-1,1 0,0-1,0 0,0 0,16 5,0-6,0 0,1-2,-1 0,1-2,24-4,-46 5,0 0,0-1,0 0,0 1,0-1,0 0,-1-1,4-1,4-4</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02T14:56:46.290"/>
    </inkml:context>
    <inkml:brush xml:id="br0">
      <inkml:brushProperty name="width" value="0.1" units="cm"/>
      <inkml:brushProperty name="height" value="0.2" units="cm"/>
      <inkml:brushProperty name="color" value="#A85000"/>
      <inkml:brushProperty name="tip" value="rectangle"/>
      <inkml:brushProperty name="rasterOp" value="maskPen"/>
      <inkml:brushProperty name="ignorePressure" value="1"/>
    </inkml:brush>
  </inkml:definitions>
  <inkml:trace contextRef="#ctx0" brushRef="#br0">0 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02T14:54:37.065"/>
    </inkml:context>
    <inkml:brush xml:id="br0">
      <inkml:brushProperty name="width" value="0.1" units="cm"/>
      <inkml:brushProperty name="height" value="0.2" units="cm"/>
      <inkml:brushProperty name="color" value="#FFA34F"/>
      <inkml:brushProperty name="tip" value="rectangle"/>
      <inkml:brushProperty name="rasterOp" value="maskPen"/>
      <inkml:brushProperty name="ignorePressure" value="1"/>
    </inkml:brush>
  </inkml:definitions>
  <inkml:trace contextRef="#ctx0" brushRef="#br0">107 48,'17'-1,"0"-1,0-1,0-1,29-9,-23 6,37-7,-54 13,0 0,-1 0,1 1,0 0,0 0,-1 0,1 1,0-1,-1 1,12 4,-17-5,1 0,0 1,-1-1,1 0,-1 1,1-1,-1 0,1 1,-1-1,1 1,-1-1,1 1,-1-1,1 1,-1-1,0 1,1-1,-1 1,0 0,0-1,1 1,-1 0,0-1,0 1,0-1,0 1,0 0,0-1,0 1,0 0,0-1,0 1,0 0,0-1,-1 1,1 0,0-1,0 1,-1-1,1 1,0-1,-1 1,1 0,0-1,-1 1,1-1,-1 1,-4 4,1-1,-1 1,0-1,-6 3,1 1,9-6,-1 0,0 1,1-1,-1 0,1 1,0-1,0 1,0 0,0-1,0 1,1 0,-1 0,1 4,-1-3,1 1,-1-1,-1 0,1 1,-3 5,3-7,-1 0,1 0,-1 0,1 0,0 0,-2 5,3-7,0 0,0-1,0 1,0 0,0 0,0-1,0 1,0 0,1-1,-1 1,0 0,0-1,0 1,1 0,-1-1,0 1,1-1,-1 1,1 0,-1-1,0 1,1-1,-1 1,1-1,0 0,-1 1,1-1,-1 1,1-1,0 0,-1 1,2-1,5 2,-1-1,1 0,-1 0,1-1,-1 0,1 0,-1 0,1-1,-1 0,1 0,-1-1,0 1,1-1,-1-1,0 1,0-1,8-5,-14 7,1 1,-1 0,1 0,-1-1,0 1,1 0,-1 0,1-1,-1 1,1-1,-1 1,0 0,1-1,-1 1,0-1,0 1,1-1,-1 1,0-1,0 1,1-1,-1 1,0-1,0 1,0-2,0 2,-1-1,1 1,0-1,-1 1,1-1,-1 1,1-1,-1 1,1 0,-1-1,1 1,-1 0,1-1,-1 1,1 0,-1 0,1 0,-2-1,-31-4,32 5,-33-2,37 7,0-1,0 1,-1 0,0 0,2 6,-4-7,0-1,0 1,0-1,-1 1,1-1,-1 1,0-1,0 1,-1-1,1 0,-1 1,1-1,-1 0,-2 3,2-3,0 0,0 1,0-1,0 1,1-1,-1 1,1-1,0 1,1 0,-2 6,2-8,0-1,0 0,1 0,-1 1,0-1,0 0,1 0,-1 1,1-1,-1 0,1 0,0 0,-1 0,1 0,0 0,0 0,0 0,0 0,-1 0,1 0,1-1,-1 1,0 0,0-1,0 1,0 0,0-1,1 0,-1 1,1-1,6 2,0-1,0 0,0 0,9-1,12 2,-28-2,0 1,1-1,-1 0,0 1,0-1,0 1,1-1,-1 1,0 0,0-1,0 1,0 0,0 0,0 0,-1 0,1 0,0 0,0 0,-1 0,1 0,0 0,-1 0,1 0,-1 1,0-1,1 0,-1 0,0 1,0-1,1 0,-1 0,0 1,0-1,-1 0,1 0,0 1,-1 1,0 2,-1 1,0-1,1 0,-2 0,1 0,-1-1,-6 9,-4 3,-1-2,-1 0,0 0,-20 12,-15 14,37-29,0 2,-14 17,23-26,1 0,0 1,0-1,1 1,-1-1,1 1,0 0,0 0,1 0,-1 0,1 1,0 5,1-10,0 0,0 0,0 0,0 0,0 0,1 0,-1 0,0 0,1 0,-1 0,1 0,-1 0,1 0,-1 0,1 0,0 0,-1 0,1 0,0 0,0-1,0 1,-1 0,1-1,0 1,0-1,0 1,0-1,0 1,0-1,0 0,1 1,-1-1,0 0,0 0,0 0,0 0,2 0,6 0,1 0,-1-1,16-2,-11 1,-7 1,5-1,0 1,14 1,-23 0,0 0,0 1,0-1,0 1,0 0,0-1,0 1,0 1,0-1,-1 0,1 1,0-1,3 4,-5-4,0 0,0 0,0 0,-1 0,1 0,0 0,-1 0,1 0,-1 0,1 0,-1 0,1 0,-1 0,0 0,0 1,1-1,-1 0,0 0,0 3,-1-2,1 1,-1-1,0 1,0-1,0 1,0-1,0 1,-3 3,-1 2,-2 0,1 0,-14 11,-44 32,-2 3,51-37,15-17,0 0,0 0,-1 0,1 0,0 0,0 1,0-1,0 0,0 0,0 0,0 0,0 1,0-1,0 0,0 0,0 0,0 0,0 1,0-1,0 0,0 0,0 0,0 1,0-1,0 0,0 0,0 0,0 0,0 1,0-1,0 0,0 0,0 0,1 0,-1 0,0 1,0-1,0 0,0 0,0 0,1 0,-1 0,0 0,0 0,0 1,0-1,1 0,-1 0,0 0,0 0,0 0,0 0,1 0,-1 0,12-1,-11 1,4 0,0-1,0 0,0 1,0 0,-1 0,8 1,-11-1,0 0,0 0,0 0,-1 1,1-1,0 0,0 1,0-1,0 1,0-1,-1 1,1 0,0-1,0 1,-1 0,1-1,0 1,-1 0,1 0,-1-1,1 1,-1 0,1 0,-1 0,0 0,1 0,-1 0,0 0,0 0,0 0,0 0,0 0,0 1,0 2,-1 0,0-1,0 1,-1 0,1-1,-1 1,0-1,0 0,0 1,0-1,0 0,-1 0,0-1,-3 4,-11 16,10-12,2 1,0 0,0 0,1 1,0-1,1 1,-3 20,3-5,0-1,3 39,1-55,1-1,0 1,0-1,8 19,0 2,-9-27,0 0,0 0,1 0,0 0,-1 0,1 0,0 0,1-1,-1 1,0-1,1 1,-1-1,1 0,0 0,0 0,-1-1,1 1,1-1,-1 1,0-1,0 0,0 0,5 1,7 0,1 1,0-2,27-1,-31 0,30-1,32 1,-66 0,-1 1,1 1,-1-1,1 1,-1 0,0 1,11 5,-17-8,1 2,1-1,-1 0,1 1,0-1,-1 0,1-1,4 2,-7-2,1 0,0 0,0 0,0-1,-1 1,1 0,0 0,-1-1,1 1,0 0,0-1,-1 1,1-1,-1 1,1 0,0-1,-1 0,1 1,-1-1,1 1,-1-1,0 0,1 1,-1-1,1 0,-1 1,0-1,0 0,1 0,-1 1,0-1,0-1,3-10,-2 0,1 0,-1-19,1-8,6-253,-8 196,0 86,1 1,0-1,1 0,0 1,0-1,6-11,27-55,-6 17,-7 14,-15 33,-1 0,0 0,-1 0,4-15,-8 22,0 1,0-1,-1 0,0 1,0-1,0 0,0 0,-1 1,0-1,0 1,0-1,0 1,-1-1,0 1,-4-9,-3-1,-1-1,-1 2,0-1,0 1,-1 1,-20-16,-89-56,112 78,-32-23,33 21,-1 1,-1 1,1-1,-1 2,0-1,0 1,-19-6,13 8,-28-2,35 5,0-1,-1 0,1 0,0-1,0 0,0-1,0 0,-9-5,12 5,0-2,1 1,-1-1,1 1,0-1,0-1,0 1,-6-11,-7-7,12 18,3 10,3 10,2-6,1 0,1 1,-1-1,10 15,24 36,-21-36,93 135,-88-125,29 50,-48-80,1 1,-1-1,1 1,0-1,0 0,7 6,-9-8,0-2,0 1,1 0,-1 0,0 0,1 0,-1-1,1 1,-1-1,0 1,1-1,-1 0,1 1,-1-1,1 0,-1 0,1 0,0 0,-1 0,1 0,-1-1,1 1,-1 0,1-1,-1 1,3-2,1-1,0-1,0 1,0-1,-1 0,1-1,-1 1,6-8,4-5,-11 14,0 0,0-1,0 1,-1-1,1 0,-1 0,0 0,0 0,0 0,1-6,-3 8,0 0,1 0,-1 0,0-1,0 1,0 0,-1-1,1 1,0 0,-1 0,0 0,1-1,-1 1,0 0,0 0,0 0,-1 0,1 0,0 1,-1-1,1 0,-3-1,-10-10,0 1,-24-15,21 16,0-1,-14-14,27 22,0-1,0 1,0-1,0 0,1 0,0 0,0 0,1-1,-1 1,1-1,0 1,1-1,-1 0,1 0,0-9,-5-21,4 26,0-1,0 0,1 0,1 0,0 0,0 0,3-12,-3 22,1-1,0 1,-1-1,1 1,0-1,0 1,0-1,0 1,0 0,1-1,-1 1,0 0,1 0,-1 0,0 0,1 0,-1 0,1 1,0-1,-1 0,1 1,0-1,-1 1,1 0,3-1,4 0,1 1,0-1,13 3,-11-2,-5 1,6-1,23 4,-32-3,1 0,-1 1,1-1,-1 1,0 0,0 0,0 1,7 4,21 21,42 45,-29-25,-38-40,0-1,-1 2,0-1,-1 1,0 0,0 0,-1 0,0 1,0 0,2 11,1 13,5 57,-9-61,0-13,1 0,8 25,0-5,-7-21,5 16,-10-31,0 0,1 1,-1-1,0 0,0 1,0-1,0 1,0-1,0 0,-1 1,1-1,0 0,-1 1,1-1,-1 0,1 1,-1-1,-1 1,2-1,-1-1,1 1,-1-1,1 0,-1 0,0 1,1-1,-1 0,0 0,1 0,-1 0,0 1,1-1,-1 0,1 0,-1 0,0 0,1-1,-1 1,0 0,1 0,-1 0,0 0,1-1,-1 1,1 0,-1-1,-1 0,-15-11,13 9,1 0,0-1,0 1,0-1,0 0,0 0,1 0,-1 0,-1-6,-1-4,-5-24,-2-5,11 38,-1 0,1 0,0 0,0 0,0 0,1 0,0-1,0 1,1-7,-1 9,1 1,0-1,-1 1,1-1,0 1,0-1,1 1,-1 0,0 0,1 0,-1-1,1 1,0 0,0 1,-1-1,1 0,1 1,-1-1,0 1,4-3,0 2,-1 1,0-1,1 1,-1 0,1 0,0 0,-1 1,1 0,0 0,-1 1,1-1,-1 1,1 0,-1 1,1 0,-1-1,0 2,0-1,7 4,-6-3,0 1,-1 0,1 0,-1 0,0 0,0 1,0 0,0 0,-1 0,0 1,0-1,-1 1,1 0,-1 0,4 13,-4-8,-2-1,1 1,-1 0,-1 1,0-1,-1 0,0 0,0 0,-5 14,0-4,0-1,-2 0,-18 36,-18 11,30-48,1 1,-12 23,23-38,-28 51,30-56,0 1,0-1,0 0,0 0,0 0,0 0,0 0,0 0,0 0,-1 0,1 0,0 0,0 1,0-1,0 0,0 0,0 0,0 0,0 0,0 0,0 0,0 0,0 0,-1 0,1 0,0 0,0 0,0 0,0 0,0 0,0 0,0 0,0 0,0 0,-1 0,1 0,0 0,0 0,0 0,0 0,0 0,0 0,0 0,0 0,0 0,0 0,-1 0,1 0,0 0,0-1,0 1,0 0,0 0,0 0,0 0,0 0,0 0,0 0,0 0,0 0,0 0,0-1,-3-9,1-16,2-157,1 93,0 198,-2 123,-5-180,-1 0,-3-1,-28 86,33-122,-1 0,-1 0,-10 14,7-11,-11 24,18-35,0 1,0 0,0-1,-1 0,0 0,-1 0,0 0,1-1,-2 0,1 0,0 0,-7 4,11-8,-5 3,0 0,1 0,-1-1,-1 0,-9 4,14-6,1-1,-1 1,1-1,-1 0,1 0,-1 0,1 0,-1 0,0 0,1 0,-1 0,1-1,-1 1,1 0,0-1,-1 0,1 1,-1-1,1 0,0 1,-1-1,1 0,0 0,0 0,0 0,0 0,0-1,0 1,0 0,0 0,0-1,-1-1,-2-8,-1 1,-5-22,8 24,0 0,0 0,-1 0,-1 1,1-1,-1 1,-9-13,-12-8,-1 2,-1 0,-41-29,61 50,1 0,0-1,0 1,0-1,1-1,0 1,0-1,0 0,1 0,-5-11,8 15,0 0,0 0,0 0,0 0,0-1,1 1,0 0,-1 0,1-1,1 1,-1 0,0 0,1-1,-1 1,1 0,0 0,0 0,0 0,1 0,-1 0,1 0,-1 0,1 0,0 1,0-1,0 1,1 0,4-5,9-4,1 0,0 1,0 1,29-11,-1 1,-31 12,-4 3,-1 0,0-1,-1 0,1 0,8-8,-16 12,0 1,-1 0,1-1,-1 1,1-1,-1 1,1-1,-1 1,1-1,-1 1,0-1,1 1,-1-1,0 0,1 1,-1-1,0 1,0-1,1 0,-1 0,0 1,0-1,0 0,0 1,0-1,0 0,0 1,0-1,-1 0,1 0,-1 1,0-1,1 1,-1 0,0-1,0 1,0 0,1-1,-1 1,0 0,0 0,0 0,0 0,1 0,-1 0,0 0,0 0,0 0,0 1,1-1,-1 0,-1 1,-34 12,33-12,0 1,0-1,0 1,0 0,1 0,-1 0,0 0,-3 5,6-7,-1 0,1 0,0 0,0 0,0 1,-1-1,1 0,0 0,0 0,0 1,0-1,0 0,0 0,0 1,-1-1,1 0,0 0,0 1,0-1,0 0,0 0,0 1,0-1,0 0,0 0,0 1,0-1,0 0,1 0,-1 1,0-1,0 0,0 0,0 0,0 1,0-1,1 0,-1 0,0 0,0 1,0-1,0 0,1 0,-1 0,0 0,0 0,1 1,-1-1,0 0,1 0,14 1,-6-4,-1 1,1-1,-1 0,1-1,-1 0,0 0,0-1,12-10,-2 0,-1 0,22-25,-33 33,0-1,0 1,0-1,-1-1,0 1,-1-1,0 0,0 0,-1 0,0 0,-1-1,2-11,-4 20,0 0,0 0,0 0,0-1,0 1,0 0,0 0,-1-1,1 1,0 0,-1 0,1 0,-1 0,1 0,-1 0,0 0,1 0,-1 0,0 0,0 0,0 0,0 0,0 0,0 1,0-1,0 0,0 1,0-1,0 1,0-1,0 1,0 0,-2-1,-4-1,-1 1,1 0,-1 1,-10-1,9 1,-69 1,-29 0,103-2,1 1,-1 0,1-1,0 1,-1-1,1 0,0 0,0 0,0-1,0 1,-3-3,5 4,-1-1,1-1,0 1,0 0,0 0,0 0,1 0,-1-1,0 1,0 0,1-1,-1 1,1-1,-1 1,1-1,0 1,-1-1,1 1,0-1,0 1,0-1,0 1,0-1,1 1,-1-1,1-2,2-5,1-1,1 1,-1 0,1 0,1 1,10-14,-13 18,27-34,2 1,1 2,2 1,71-53,-103 85,-1 0,1 0,0 0,0 1,0-1,1 1,-1 0,0-1,4 1,-6 1,0 0,0 0,0 0,0 0,0 0,0 0,0 0,0 1,0-1,0 0,0 1,0-1,0 1,0-1,0 1,-1 0,1-1,0 1,0 0,-1-1,1 1,0 0,-1 0,1 0,-1-1,1 1,-1 0,1 0,-1 0,0 0,0 0,1 2,6 27,-6-22,1 0,0 1,4 7,-5-14,0 1,0-1,0 0,1 0,-1 0,1 0,0 0,-1 0,1 0,0 0,0-1,0 1,0-1,3 2,-4-2,0-1,-1 0,1 0,-1 1,1-1,-1 1,1-1,-1 0,1 1,-1-1,0 1,1-1,-1 1,1-1,-1 1,0-1,0 1,1 0,-1-1,0 2,-1 16,1-17,-75 297,58-238,12-41,-39 122,42-135,-15 32,17-37,-1 0,1 0,-1 1,0-1,1 0,-1 0,0 0,0 0,0 0,0 0,0 0,0 0,0-1,-1 1,1 0,0 0,0-1,-1 1,1-1,0 1,0-1,-2 1,1-2,1 1,0-1,0 1,0 0,0-1,0 0,0 1,0-1,0 0,0 1,0-1,0 0,0 0,0 0,0 0,1 0,-1 0,0 0,1 0,-1 0,1 0,-1-1,1 1,-1-1,-9-35,10 33,-9-54,3 0,3-1,5-71,-2 121,1-17,-1 24,0 1,0 0,1-1,-1 1,0-1,1 1,-1 0,1-1,-1 1,1 0,0-1,0 1,1-2,-2 3,0 0,0 0,0 0,0 0,0 0,0 0,1 0,-1 0,0 0,0 0,0 0,0 0,0 0,0 0,0 0,1 0,-1 0,0 0,0 0,0 0,0 0,0 0,0 0,0 1,0-1,1 0,-1 0,0 0,0 0,0 0,0 0,0 0,0 0,0 0,0 0,0 1,0-1,0 0,0 0,0 0,0 0,1 0,-1 0,0 0,0 0,0 1,0-1,0 0,0 0,2 8,-1 0,1 0,-1 0,-1 0,1 0,-2 10,1 3,0 348,-15-195,24-256,-7 72,0 0,1 0,0 0,1 0,9-18,-13 27,0 1,1-1,-1 0,0 1,1-1,-1 0,1 1,-1-1,1 1,-1-1,1 1,-1-1,1 1,-1-1,1 1,-1 0,1-1,0 1,-1 0,1-1,0 1,0 0,0 0,-1 0,1 1,-1-1,1 0,-1 1,1-1,-1 0,0 1,1-1,-1 0,0 1,1-1,-1 1,0-1,1 1,-1-1,0 1,0-1,0 1,0-1,1 2,0 5,1 1,0 13,-2-20,1 120,-1-45,-1-113,2 0,7-49,-3 51,1-2,1 1,12-36,-19 71,0 0,0 0,0 0,1 0,-1 0,0 1,1-1,-1 0,1 0,-1 0,1 0,-1 1,1-1,0 0,-1 1,1-1,0 0,-1 1,1-1,1 0,-1 1,0 0,-1 1,1-1,-1 0,1 1,-1-1,1 0,-1 1,0-1,1 1,-1-1,1 1,-1-1,0 1,1-1,-1 1,0-1,0 1,1-1,-1 1,0-1,0 2,3 7,-1 0,2 16,-1 91,-2-38,-1-112,6-52,0 34,-4 34,2 1,0 0,1 1,1-1,10-21,10-29,-22 54,11-33,-14 43,1 1,-1-1,1 0,0 0,0 0,-1 1,2-1,-1 1,0-1,0 1,5-3,-6 4,0 1,-1-1,1 1,0 0,-1-1,1 1,0 0,0-1,0 1,-1 0,1 0,0 0,0 0,0 0,-1 0,1 0,0 0,0 0,0 0,-1 0,1 0,0 1,0-1,1 1,-1 0,0-1,0 1,-1 0,1 0,0 0,0 0,0 1,-1-1,1 0,-1 0,1 0,-1 0,1 3,1 4,0-1,-1 1,0 15,-1-21,0 44,-3 0,-1 0,-2 0,-25 89,2-60,22-61,0 0,2 0,0 1,0 0,1 0,1 0,-1 22,4-18,0-10,0 0,0 0,-1 0,0 0,-4 17,4-24,1-1,-1 1,0 0,0-1,0 1,0 0,0-1,0 1,-1-1,1 0,0 1,-1-1,1 0,-1 0,1 0,-1 0,0 0,1 0,-1-1,0 1,1 0,-1-1,0 1,0-1,0 0,0 0,0 1,1-1,-1 0,0-1,0 1,0 0,0-1,-2 0,-8-2,1-1,-1 0,1-1,0 0,-20-14,4 3,-48-32,68 44,0 1,1 0,-1 1,0-1,-1 1,1 1,-8-2,-54-1,55 3,-253 2,259-1,0-1,1 0,-1 0,-13-4,21 5,0 0,-1 0,1 0,-1 0,1 0,-1 0,1 0,0-1,-1 1,1 0,-1 0,1 0,0-1,-1 1,1 0,0 0,-1-1,1 1,0 0,-1-1,1 1,0 0,0-1,-1 1,1 0,0-1,0 1,0-1,-1 1,1 0,0-1,0 1,0-1,0 1,0-1,0 1,0 0,0-1,0 1,0-1,0 1,0-1,0 1,1 0,-1-1,0 1,0-1,0 1,1 0,-1-1,0 1,0 0,1-1,-1 1,0 0,1-1,-1 1,4-4,0 1,0 0,1 0,4-2,-5 3,37-19,1 2,75-24,-81 30,-28 10,-1 0,0-1,0 0,10-7,-12 6,2 1,-1 0,0 0,1 1,9-4,14 0,-23 6,-1 0,0 0,0-1,10-4,-14 5,1 0,-1 0,0-1,0 1,0-1,-1 0,1 1,0-1,-1 0,1 0,-1 0,1 0,-1 0,0 0,0-1,1-2,3-13,-1-1,-1 0,0 0,-1 0,-2-20,0 38,0 1,0-1,0 0,0 0,0 0,0 0,0 0,0 0,0 0,0 0,0 0,1 1,-1-1,0 0,1 0,-1 0,1 0,-1 1,1-1,-1 0,1 0,-1 1,1-1,0 0,0 0,1 1,-1 0,1 0,-1 1,1-1,-1 0,1 1,-1-1,1 1,-1-1,0 1,1 0,-1 0,0-1,2 3,10 5,-1 1,-1 1,0 0,0 0,-1 1,10 14,47 77,-47-67,39 47,-46-66,-4-5,14 19,-20-27,-1 1,0-1,-1 1,1 0,-1-1,1 1,-1 0,0 0,-1 0,1 7,-1-10,0 0,0 1,0-1,0 0,-1 0,1 1,-1-1,1 0,-1 0,1 0,-1 1,0-1,1 0,-1 0,0 0,0 0,0 0,0 0,0-1,0 1,0 0,0 0,0-1,0 1,0-1,-1 1,1-1,-2 1,-5 2,0-2,-1 1,-12 0,0 0,19-1,-1-1,1 1,-1 0,1 0,0 0,-1 0,1 0,0 0,0 0,0 1,0-1,0 1,0 0,0-1,0 1,1 0,-1 0,1 0,-3 5,2-2,0 0,0 0,1 0,0 1,0-1,0 1,1 9,4-132,-2 108,1 18,4 21,-4 16,-1 1,-4 49,2-95,0 0,0 0,0 1,-1-1,1 0,0 0,-1 0,1 1,0-1,-1 0,1 0,-1 0,0 0,0 1,0-1,1-1,0 0,-1 0,1 1,-1-1,1 0,0 0,-1 0,1 0,-1 0,1 1,-1-1,1 0,0 0,-1 0,1 0,-1 0,1 0,-1 0,1-1,-1 1,1 0,0 0,-1 0,0-1,-3-1,0-1,0 1,1-1,-1 0,-5-7,1 3,-31-25,24 20,1 0,-16-16,26 23,0 1,0-1,1 0,0 0,0 0,0 0,1-1,0 1,0-1,0 0,-1-7,0-15,2 1,3-50,0 21,-1 1,-2 6,3 0,12-78,-5 87,25-69,-26 84,-2-1,-1 0,5-51,-7 40,-1-9,-2 29,3-21,-3 33,1 0,0 1,0-1,1 1,0-1,-1 1,1-1,1 1,2-4,-4 6,0 1,0 0,0-1,0 1,0 0,0 0,1 0,-1 0,0 0,1 0,-1 0,1 1,-1-1,1 0,-1 1,1 0,0-1,-1 1,4-1,-2 1,-1 1,1-1,0 0,-1 1,1 0,-1 0,1-1,-1 2,1-1,-1 0,3 2,2 1,-2 1,1-1,0 1,-1 1,0-1,0 1,-1 0,6 7,0 7,-1-1,0 1,11 41,5 68,-16-86,-5-23,-1-1,1 24,-6-29,2-14,0 1,0-1,0 0,0 0,0 0,0 0,0 0,0 1,-1-1,1 0,0 0,0 0,0 0,0 0,0 0,-1 0,1 0,0 0,0 1,0-1,0 0,0 0,-1 0,1 0,0 0,0 0,0 0,0 0,-1 0,1 0,0 0,0 0,0 0,0 0,0 0,-1-1,1 1,0 0,-1-1,0 0,0 0,0 0,0 0,0 0,0 0,1 0,-1 0,0 0,1-1,-1 1,1 0,-1-1,0 0,-2-18,0 0,0 0,2 0,2-35,0 40,-1 227,0-81,1-121,-2 0,0 1,0-1,-1 0,0 0,-7 18,9-27,0 0,0 0,-1 0,1 0,-1 0,1 0,-1 0,1-1,-1 1,0 0,1 0,-1-1,0 1,0 0,0-1,-1 2,2-2,0 0,-1 0,1 0,-1 0,1 0,0 0,-1 0,1 0,-1-1,1 1,0 0,-1 0,1 0,0 0,-1-1,1 1,0 0,-1 0,1-1,0 1,0 0,-1-1,1 1,0 0,0-1,-1 1,1-1,-2-4,-1 0,1 0,0 0,-1-9,-3-20,1 1,1-53,-3-15,1 7,2 16,3 71,0 1,0-1,-1 1,0-1,0 1,-1 0,1-1,-1 1,-1 1,1-1,-8-9,-4-1,1 1,-25-18,20 17,-20-22,11 5,1 0,-25-42,49 70,0 0,-1 0,1 0,-1 1,0-1,-1 1,1 0,-1 0,1 0,-1 1,0 0,-1 0,1 0,0 0,-1 1,0 0,1 0,-1 1,0-1,0 1,0 1,0-1,-8 1,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02T14:54:57.921"/>
    </inkml:context>
    <inkml:brush xml:id="br0">
      <inkml:brushProperty name="width" value="0.1" units="cm"/>
      <inkml:brushProperty name="height" value="0.2" units="cm"/>
      <inkml:brushProperty name="color" value="#FFA34F"/>
      <inkml:brushProperty name="tip" value="rectangle"/>
      <inkml:brushProperty name="rasterOp" value="maskPen"/>
      <inkml:brushProperty name="ignorePressure" value="1"/>
    </inkml:brush>
  </inkml:definitions>
  <inkml:trace contextRef="#ctx0" brushRef="#br0">255 516,'0'1,"0"0,0 0,0 0,0 0,0 0,1-1,-1 1,0 0,1 0,-1 0,1 0,-1-1,1 1,-1 0,1 0,-1-1,1 1,0 0,-1-1,1 1,0-1,0 1,-1-1,1 1,0-1,0 0,0 1,0-1,0 0,0 0,-1 1,1-1,0 0,0 0,0 0,0 0,1-1,3 1,-1 0,0 0,1-1,-1 0,0 0,7-2,-2-2,1 0,12-9,-14 9,0 0,0 0,11-4,-19 9,1 0,-1-1,0 1,0 0,0 0,0 0,1 0,-1 0,0 0,0-1,0 1,1 0,-1 0,0 0,0 0,0 0,1 0,-1 0,0 0,0 0,1 0,-1 0,0 0,0 0,0 0,1 0,-1 0,0 0,0 0,0 1,1-1,-1 0,0 0,0 0,0 0,1 0,-1 0,0 1,0-1,0 0,0 0,0 0,1 0,-1 1,0-1,0 0,0 0,0 0,0 1,0-1,0 0,0 0,0 1,0-1,0 0,0 0,0 0,0 1,0-1,0 0,0 0,0 0,0 1,0-1,0 0,0 0,0 1,-8 15,7-14,-8 12,0-1,-1 1,0-1,-1-1,0 0,-1-1,-1 0,-26 18,30-23,5-4,0 0,1 0,-1 1,1-1,0 1,-1 0,1 0,-3 4,6-6,-1-1,1 0,0 0,0 0,0 0,0 1,0-1,0 0,0 0,0 0,0 1,0-1,-1 0,1 0,0 0,0 1,0-1,0 0,0 0,1 0,-1 1,0-1,0 0,0 0,0 0,0 1,0-1,0 0,0 0,0 0,0 0,0 1,1-1,-1 0,0 0,0 0,0 0,0 0,1 1,-1-1,0 0,0 0,0 0,0 0,1 0,-1 0,0 0,0 0,0 0,1 0,-1 0,0 0,0 0,0 0,1 0,-1 0,0 0,16-2,8-6,0-1,-1-1,0 0,-1-2,0-1,27-21,-48 33,0 0,0 1,0-1,0 0,0 0,0 0,0 0,0 0,-1-1,1 1,0 0,-1 0,1 0,0-2,-1 2,0 1,0-1,0 1,0-1,0 1,0 0,0-1,-1 1,1-1,0 1,0-1,0 1,-1 0,1-1,0 1,0-1,-1 1,1 0,0-1,-1 1,1 0,0-1,-1 1,1 0,-1 0,0-1,-2 0,0 0,0 0,-1 0,1 0,0 1,-1-1,1 1,-8 0,3 1,1 0,-1 0,-15 5,14-3,1-1,-15 2,23-4,-1 1,0-1,1 0,-1 0,0 0,1 0,-1 0,1-1,-1 1,0 0,1 0,-1 0,0-1,1 1,-1 0,1 0,-1-1,0 1,1 0,-1-1,1 1,-1-1,1 1,0-1,-1 1,1-1,-1 0,0-1,1 1,-1-1,1 1,0-1,-1 1,1-1,0 1,0-1,0 0,0 1,1-3,0-2,0-1,1 1,0-1,4-9,-4 12,0 1,0 0,0 0,0 0,0 0,1 0,-1 0,1 1,0-1,0 1,0 0,0 0,0 0,7-3,0 1,1 0,0 1,18-2,-16 3,24-8,-27 7,-1-1,0-1,0 0,0 0,-1 0,10-9,-15 12,0-1,0 0,0 0,0 0,0 0,-1-1,1 1,-1-1,0 0,0 1,0-1,-1 0,1 0,-1 0,0 0,0 0,0-7,-1 10,0-1,0 1,0-1,-1 1,1-1,-1 1,1 0,-1-1,1 1,-1 0,0-1,0 1,0 0,0 0,0 0,0 0,0 0,0 0,0 0,0 0,0 0,-1 0,1 1,0-1,-1 0,-1 0,-5-2,1 1,-1 0,-13-1,18 2,-19-2,1 1,0 0,-1 2,1 0,-23 4,29 1,15-5,0 0,0 0,-1 0,1 0,0 0,0 0,0 0,0 0,0 0,0 1,0-1,0 0,0 0,0 0,0 0,0 0,0 0,0 0,0 0,0 0,0 0,0 1,0-1,0 0,0 0,0 0,0 0,0 0,0 0,0 0,0 0,0 1,0-1,0 0,0 0,0 0,0 0,0 0,0 0,0 0,0 0,0 0,0 0,0 0,1 0,-1 1,0-1,0 0,0 0,0 0,0 0,0 0,0 0,0 0,0 0,1 0,-1 0,0 0,0 0,3 1,-1-1,1 1,0-1,0 1,-1-1,1 0,5 0,-2-1,1 0,0-1,-1 0,1 0,-1 0,1-1,-1 1,8-7,4-2,21-20,-31 25,-7 5,0 1,-1-1,1 0,0 1,0-1,-1 1,1-1,0 1,0 0,0-1,0 1,0 0,-1-1,3 1,-3 0,1 0,-1 0,0 1,0-1,1 0,-1 0,0 0,0 0,0 0,1 1,-1-1,0 0,0 0,0 0,0 1,1-1,-1 0,0 0,0 1,0-1,0 0,0 0,0 1,0-1,0 0,0 1,0-1,0 0,0 0,0 1,0 3,0 0,-1-1,0 1,0 0,-2 5,-44 96,44-87,3-18,0 1,0-1,0 1,0-1,1 1,-1-1,0 1,0-1,0 1,1-1,-1 1,0-1,0 1,1-1,-1 0,0 1,1-1,0 1,0 0,0-1,0 0,0 0,0 1,0-1,0 0,0 0,0 0,0 0,0 0,-1 0,1 0,0 0,0-1,0 1,0 0,0-1,0 1,0 0,0-1,1 0,0 0,-1 0,1 0,-1 0,0 0,1 0,-1 0,0-1,0 1,0 0,0-1,0 1,0-1,0 1,1-3,-2 3,0 0,1 0,-1 0,0 0,0 0,0-1,0 1,0 0,0 0,0 0,0 0,0 0,-1 0,1 0,0 0,-1 0,1 0,-1 0,1 0,-1 0,0 0,1 0,-1 0,0 0,-1-1,0 1,0 0,1 0,-1 0,0 0,0 1,0-1,0 0,0 1,0 0,0-1,0 1,0 0,0 0,0 0,0 0,0 1,0-1,1 0,-1 1,0-1,-3 2,-2 1,0-1,0 1,0 1,-8 4,12-5,0-1,0 1,0 0,0 0,0 0,0 0,1 0,0 1,0-1,0 1,0 0,0-1,1 1,-1 0,1 0,0 0,0 5,-1 6,1 1,0 0,3 18,-1-14,0-7,0 0,1 0,0 0,1-1,1 1,5 12,-6-16,1 0,1-1,0 0,0 0,0 0,1 0,0-1,1 0,7 6,-13-11,12 8,-1 0,2 0,24 13,-34-21,0 0,0 0,1-1,-1 1,0-1,1 0,-1-1,1 1,-1-1,1 0,-1 0,1 0,-1 0,1-1,-1 0,1 0,-1 0,7-3,-9 3,-1 0,1 0,0 0,-1 0,1 0,0 0,-1 0,0-1,1 1,-1 0,0-1,1 1,-1-1,0 0,0 1,0-1,-1 0,1 0,1-2,-18 38,1 39,6-25,8-68,1 11,1 21,-1 23,0 58,-1-84,0 0,0 0,-1 1,0-1,-1-1,0 1,-6 12,8-20,1 0,0-1,-1 1,1 0,-1 0,1-1,-1 1,0 0,1-1,-1 1,0-1,1 1,-2 0,2-1,-1 0,1 0,0 0,-1 0,1-1,0 1,-1 0,1 0,0 0,0 0,-1 0,1 0,0-1,-1 1,1 0,0 0,0-1,-1 1,1 0,0 0,0-1,0 1,-1 0,1 0,0-1,0 1,0 0,0-1,0 1,0 0,0-1,0 1,0 0,-1-1,1 1,1 0,-1-1,-2-9,1 1,0-1,1 1,0-1,1 0,0 1,2-13,20-68,-21 84,9-31,25-59,-25 75,-6 18,-4 5,-2 8,-1-1,-1 0,-1 0,1-1,-2 1,-8 13,-33 38,29-38,-15 23,28-40,1 1,-1-1,0 0,0 0,0-1,-1 1,0-1,0 0,0 0,0-1,0 1,-1-1,0 0,1-1,-1 1,0-1,0 0,0-1,-1 0,1 0,0 0,-10 0,7-1,1-1,-1 1,0-2,1 1,-1-1,1 0,0-1,-1 0,1 0,1-1,-1 0,0 0,-12-10,12 7,0 0,0 0,1-1,0 0,0 0,0 0,1-1,1 0,0 0,0-1,-4-11,-38-151,35 121,7 29,1 0,1-1,1-23,5-68,-3 104,2-18,0 0,2 1,1-1,2 1,0 0,2 1,23-51,-28 71,-1 1,0-1,1 1,0-1,0 1,1 0,7-6,-10 9,0 0,0 1,1-1,-1 1,1 0,-1-1,1 1,0 1,-1-1,1 0,0 0,-1 1,1 0,0-1,0 1,0 0,-1 1,1-1,5 1,8 5,-1 0,1 0,-1 2,18 11,-2-2,-24-13,-1-1,1 1,-1 1,0-1,10 11,-13-12,-1 0,0 0,0 1,0-1,0 0,0 1,-1-1,1 1,-1 0,0 0,0-1,0 1,0 5,0 8,-1 0,0 0,-2 1,1-1,-2 0,-1-1,0 1,-10 27,6-26,5-12,0 0,1 1,0 0,0-1,-2 11,4-16,0-1,0 1,0-1,0 1,0-1,0 1,0 0,0-1,0 1,1-1,-1 1,0-1,0 1,1-1,-1 1,0-1,1 0,-1 1,0-1,1 1,-1-1,0 1,1-1,-1 0,1 0,-1 1,1-1,-1 0,1 1,-1-1,1 0,-1 0,1 0,0 0,19-1,-1-4,-1 0,1-2,-2 0,1-1,-1-1,22-15,-39 24,0 0,0-1,0 1,1 0,-1 0,0 0,0-1,0 1,1 0,-1 0,0 0,0 0,0 0,1 0,-1-1,0 1,0 0,1 0,-1 0,0 0,0 0,1 0,-1 0,0 0,0 0,1 0,-1 0,0 0,0 0,0 0,1 0,-1 0,0 0,1 1,-5 7,-12 11,16-19,0 0,0 0,0 0,0 0,0 0,0 0,0 0,0 0,0 0,0 0,0 0,0 0,0-1,0 1,0 0,0 0,0 0,0 0,0 0,0 0,0 0,0 0,-1 0,1 0,0 0,0 0,0 0,0 0,0 0,0 0,0 0,0 0,0 0,0 0,0 0,0 0,0 0,0 0,0 0,0 0,0 0,0 0,0 0,-1 0,1 0,0 0,0 0,0 0,0 0,0 0,0 0,0 0,0 0,0 0,0 0,0 0,0 0,0 0,0 0,0 0,0 0,0 0,2-8,5-9,-3 12,0 0,1 1,-1-1,1 1,0 0,0 0,1 1,-1-1,1 1,-1 1,10-4,-13 5,1 0,0 0,0 0,0 0,-1 0,1 1,0 0,0-1,0 1,0 0,0 0,0 1,0-1,0 1,0-1,0 1,-1 0,1 0,0 0,0 1,-1-1,1 1,-1-1,1 1,-1 0,3 3,0 1,0 0,-1 1,0 0,-1-1,1 1,-1 1,-1-1,1 0,-1 1,-1-1,2 9,-1 10,0 0,-3 25,0-21,0-19,1 0,-2 0,0 0,0 0,-1-1,0 1,-6 13,-1-5,0-1,-23 32,20-30,-11 23,13-23,-18 26,26-42,-12 17,-1 0,-1-1,-34 30,18-18,27-25,0-1,0 0,0 0,-1 0,0-1,0 0,-1 0,1-1,-12 4,6-4,0-1,0 0,0-1,-19 0,-56-3,34-1,48 2,1 0,-1 0,1-1,-1 0,0 0,1 0,-1-1,1 0,0 0,0 0,0 0,0-1,0 0,0 0,1 0,-9-8,6 4,-9-6,2 0,-23-27,33 34,0 0,0 0,1 0,-1-1,1 0,1 1,-1-1,1 0,0 0,1 0,-1-9,0-23,1 1,2-1,2 0,13-65,-13 94,0 0,0-1,2 1,-1 1,7-12,33-44,-4 6,5-6,-15 22,-23 32,-1 0,-1-1,5-12,-7 15,0 0,1 0,0 1,1-1,10-14,-15 23,0 0,0-1,1 1,-1 0,0 0,0-1,0 1,0 0,1 0,-1 0,0-1,0 1,0 0,1 0,-1 0,0 0,0 0,1-1,-1 1,0 0,0 0,1 0,-1 0,0 0,1 0,-1 0,0 0,0 0,1 0,-1 0,0 0,1 0,-1 0,0 0,0 0,1 1,-1-1,0 0,0 0,1 0,-1 0,0 0,0 1,0-1,1 0,-1 0,0 0,0 1,0-1,1 0,-1 0,0 1,0-1,0 0,0 0,0 1,0-1,0 0,0 1,4 17,-4-18,1 22,-1-13,1-1,-1 0,2 0,3 16,-4-22,-1-1,1 1,0 0,0 0,0 0,0-1,0 1,1 0,-1-1,0 1,1-1,-1 0,1 1,0-1,-1 0,1 0,0 0,0 0,-1 0,1 0,0-1,0 1,0-1,0 1,2-1,-2 0,0 0,0 1,-1-2,1 1,0 0,0 0,-1-1,1 1,0-1,0 1,-1-1,1 0,-1 1,1-1,-1 0,1 0,-1 0,1 0,-1-1,0 1,1 0,-1-1,1-1,0 0,0 0,0 0,0-1,-1 1,1-1,-1 1,0-1,0 0,1-5,-10 35,6 3,0 39,2-66,1 1,-1-1,0 0,0 0,1 1,-1-1,1 0,0 0,0 0,0 0,0 0,0 0,2 3,-2-4,0 0,0 0,0 0,0-1,1 1,-1 0,0 0,1-1,-1 1,0-1,1 1,-1-1,1 0,-1 1,0-1,1 0,-1 0,1 0,-1 0,1 0,1-1,2 0,-1 0,0 0,0-1,0 1,0-1,0 0,0 0,4-4,-4 3,0 1,1-1,-1 1,10-4,-13 6,-1 0,1 0,0 0,-1 0,1 0,-1-1,1 1,0 0,-1 0,1 1,-1-1,1 0,0 0,-1 0,1 0,-1 0,1 1,0-1,-1 0,1 1,-1-1,1 0,-1 1,1-1,-1 0,1 1,-1-1,0 1,1-1,-1 1,1 1,0 0,0 0,0 0,0 1,-1-1,1 0,-1 3,1 6,0 0,-1 0,-1 1,0-1,-4 18,-18 58,11-49,-8 32,17-58,3-12,1 0,-1 0,0 0,0 0,0 0,0 0,0 0,0 0,0 0,0 0,0 0,0 0,0 1,0-1,0 0,0 0,0 0,0 0,0 0,0 0,1 0,-1 0,0 0,0 0,0 0,0 0,0 0,0 0,0 0,0 0,0 0,0 0,0 0,0 0,0 0,0 0,1 0,-1 0,0 0,0-1,0 1,0 0,0 0,0 0,0 0,0 0,0 0,0 0,0 0,0 0,0 0,0 0,0 0,0 0,0 0,0 0,0 0,0 0,0-1,0 1,0 0,0 0,0 0,0 0,0 0,0 0,0 0,14-22,-7 9,235-376,-226 365,-16 24,0 0,0 0,0 0,0 1,0-1,0 0,0 0,0 0,0 0,0 0,0 1,0-1,0 0,0 0,1 0,-1 0,0 0,0 1,0-1,0 0,0 0,0 0,0 0,0 0,0 0,0 0,0 0,1 1,-1-1,0 0,0 0,0 0,0 0,0 0,0 0,1 0,-1 0,0 0,0 0,0 0,0 0,0 0,1 0,-1 0,0 0,0 0,0 0,0 0,0 0,1 0,-1 0,0 0,0 0,0 0,0 0,0 0,0 0,1-1,-1 1,0 0,0 0,-2 14,-59 162,56-162,-1-1,-13 23,12-29,5-11,4-13,-1 13,1 0,0 0,0 0,0 0,1 0,0 1,-1-1,7-5,-8 9,-1-1,1 0,0 1,0-1,0 0,-1 1,1-1,0 1,0-1,0 1,0 0,0-1,0 1,0 0,0 0,0 0,0 0,0-1,0 1,0 0,0 1,0-1,0 0,0 0,0 0,0 1,-1-1,1 0,0 1,0-1,0 1,0-1,0 1,0-1,-1 1,1 0,0-1,-1 1,1 0,0 0,-1-1,1 1,0 2,2 2,0 1,0 0,-1-1,0 1,0 0,0 0,-1 0,0 1,0 7,0 10,-2 27,-1-23,2 12,0-14,-3 28,2-46,-1 0,1 0,-1 0,-1 0,0 0,0 0,-7 11,-4 3,0 0,-32 34,36-45,-1 0,-1-1,0-1,0 0,-1 0,-15 6,-11 4,18-10,-32 20,52-28,0-1,0 1,0 0,0 0,0 0,0 0,0 0,0 0,0 0,1 0,-1 0,-1 2,2-3,0 1,0-1,0 0,0 0,0 0,0 0,0 0,0 0,0 0,0 0,0 0,0 1,0-1,0 0,0 0,0 0,0 0,0 0,1 0,-1 0,0 0,0 0,0 1,0-1,0 0,0 0,0 0,0 0,0 0,0 0,0 0,0 0,0 0,1 0,-1 0,0 0,0 0,0 0,0 0,0 0,0 0,0 0,0 0,0 0,1 0,-1 0,11-4,9-8,-1-1,0-2,-1 0,18-19,4-4,-22 24,23-15,-23 18,20-19,-33 25,1 0,-1-1,0 0,0 0,-1 0,1-1,3-7,-4 1,1 1,-1-1,-1 0,-1 0,1 0,-1-21,7-34,-6 52,1-1,1 1,1-1,0 1,1 1,0-1,15-21,-22 37,0-1,0 1,1-1,-1 1,0 0,0-1,1 1,-1 0,0-1,1 1,-1 0,0-1,1 1,-1 0,0-1,1 1,-1 0,1 0,-1 0,1-1,-1 1,0 0,1 0,-1 0,1 0,-1 0,1 0,-1 0,1 0,-1 0,1 0,0 1,0 0,-1-1,1 1,-1 0,1-1,-1 1,1 0,-1 0,0 0,1 0,-1-1,0 1,0 0,1 2,1 35,-2-36,1 29,-1 20,-6 58,3-95,0 1,-1 0,-1-1,0 0,-1 0,0-1,-1 1,-16 21,9-16,-1 0,-1-1,0-1,-34 28,33-32,-1-2,0 0,0 0,-1-2,0 0,-1-2,0 0,0-1,0-1,-31 4,49-9,0 0,0 0,0 0,0 0,0 0,0 0,0 0,0-1,1 1,-1-1,0 0,0 1,0-1,1 0,-1 0,0 0,1 0,-3-2,2 0,0 1,0 0,1 0,-1-1,1 1,-1-1,1 0,0 1,0-1,0 0,0-4,-1-6,1 0,0 0,1 0,3-19,16-300,-19 318,1 9,-1 1,0-1,0 1,0-1,-1 0,0 1,0-1,0 1,-2-5,3 9,0-1,0 1,-1-1,1 1,0 0,0-1,-1 1,1-1,0 1,0 0,-1 0,1-1,-1 1,1 0,0-1,-1 1,1 0,0 0,-1 0,1-1,-1 1,1 0,-1 0,1 0,-1 0,1 0,0 0,-1 0,1 0,-1 0,1 0,-1 0,1 0,-1 0,1 0,0 1,-1-1,1 0,-1 0,1 0,0 1,-1-1,1 0,-1 0,1 1,0-1,-1 0,1 1,-16 18,5 0,1 1,1 0,-10 30,17-45,1 1,0-1,0 0,-1 9,2-13,0 0,0 0,0 0,0 1,0-1,1 0,-1 0,0 0,1 0,-1 0,0-1,1 1,0 2,0-3,-1 1,1-1,-1 0,1 1,-1-1,1 0,-1 0,1 1,-1-1,1 0,0 0,-1 0,1 0,-1 1,1-1,0 0,-1 0,1 0,-1 0,1-1,0 1,-1 0,1 0,-1 0,2-1,1 0,-1 0,1 0,-1 0,1-1,-1 1,1-1,-1 0,0 0,0 0,1 0,-2 0,1 0,0 0,0-1,-1 1,1-1,-1 1,0-1,0 0,0 1,0-1,0 0,0 0,-1 0,1-3,0-9,0 1,-1 0,-4-26,4 38,-14-415,14 334,0 78,0 0,1 0,-1 0,1 0,0 0,0 0,0 0,4-8,-3 10,0 0,0 0,0 0,1 0,-1 1,1-1,-1 1,1-1,0 1,0 0,0 0,0 0,4-1,106-44,-108 45,-1 1,0-1,1 1,-1 0,1 1,-1-1,1 1,0 0,-1 0,1 1,-1-1,1 1,-1 0,1 0,-1 0,0 1,1 0,-1 0,0 0,0 0,0 0,-1 1,1 0,0 0,-1 0,0 0,0 0,0 1,5 7,30 65,-15-27,-22-46,1-1,-1 1,0-1,0 1,0 0,-1 0,1-1,-1 1,1 0,-1 0,0 4,0-6,-1 0,1 1,-1-1,1 0,-1 1,1-1,-1 0,0 0,0 0,0 0,0 0,0 0,0 0,0 0,0 0,0 0,0 0,0 0,-1-1,1 1,0-1,0 1,-1-1,1 1,-2-1,-43 15,1 2,1 2,0 2,-61 39,96-53,1 1,0 0,0 0,0 1,-11 17,-7 9,9-15,1 2,1 0,1 1,-17 35,26-46,-4 7,0 1,-10 39,17-53,1 1,0-1,1 1,-1-1,1 1,0-1,1 1,-1-1,2 1,-1-1,0 0,1 1,0-1,4 6,1 1,1 0,1-1,20 22,-19-23,0 1,-1 0,11 17,-19-26,0-1,-1 0,1 0,0 0,-1 0,1 1,-1 1,-2 3,1-7,1 0,0 0,-1 0,1 0,-1 0,1 0,0 0,-1 0,1 0,-1 0,1 0,0 0,-1 0,1 0,-1-1,1 1,0 0,-1 0,1 0,0-1,-1 1,-9-8,0-1,0 1,1-2,0 1,1-1,-9-14,-15-16,13 20,-44-33,13 11,60 52,0 1,-1 0,-1 0,11 19,22 55,-38-78,1 2,0-1,1 1,0-1,0 0,1-1,0 1,0-1,1 0,0-1,8 7,-10-10,-1 0,1-1,-1 1,1-1,0 0,0 0,0 0,0-1,0 0,0 0,0 0,0-1,1 0,-1 1,0-2,0 1,0-1,1 0,8-2,-5-1,0 1,0-2,-1 1,1-1,-1 0,0-1,-1 1,1-2,-1 1,-1-1,1 0,-1 0,0-1,7-12,3-9,-1-2,20-56,-5 13,-23 58,-7 16,0 0,0 0,0 0,0 0,0 0,0 0,1 0,-1 0,0-1,0 1,0 0,0 0,0 0,0 0,0 0,0 0,0 0,0 0,0 0,0 0,0 0,0 0,0 0,0-1,1 1,-1 0,0 0,0 0,0 0,0 0,0 0,0 0,0 0,0 0,0 0,1 0,-1 0,0 0,0 0,0 0,0 0,0 0,0 0,0 0,0 0,0 0,0 0,1 1,-1-1,0 0,0 0,0 0,0 0,0 0,0 0,2 8,-3 9,-1-2,0-1,-2 0,0-1,-11 26,15-39,0 1,0-1,0 0,0 0,0 0,0 0,0 0,0 0,0 1,0-1,0 0,0 0,0 0,0 0,0 0,0 0,0 0,0 1,0-1,-1 0,1 0,0 0,0 0,0 0,0 0,0 0,0 0,0 0,0 0,-1 0,1 0,0 0,0 0,0 0,0 1,0-1,0 0,-1 0,1 0,0 0,0-1,0 1,0 0,0 0,0 0,-1 0,1 0,0 0,-3-8,2-12,1 12,1-1,0 1,3-12,-3 17,-1-1,1 1,1 0,-1 0,0 0,1 1,-1-1,1 0,0 0,0 1,4-5,-6 7,1 0,-1 0,0-1,1 1,-1 0,0 0,1-1,-1 1,0 0,1 0,-1 0,1 0,-1-1,0 1,1 0,-1 0,1 0,-1 0,1 0,-1 0,0 0,1 0,-1 0,1 0,-1 0,0 1,1-1,-1 0,1 0,-1 0,0 0,1 1,-1-1,0 0,1 0,-1 1,0-1,0 0,1 1,-1-1,0 0,0 1,1-1,-1 0,0 1,0-1,0 0,0 1,1-1,-1 1,0-1,0 0,0 2,4 22,-4-24,2 72,-3-51,1 0,1 1,2-1,6 31,-6-41,0 0,-1 1,0-1,-1 1,0 18,-1-26,0 1,-1-1,0 1,0-1,0 1,0-1,-1 0,1 1,-1-1,0 0,-1 0,1 0,-1-1,1 1,-1-1,-7 7,10-9,-1-1,1 1,-1-1,1 0,-1 1,1-1,-1 1,1-1,-1 0,0 0,1 1,-1-1,1 0,-1 0,0 0,1 0,-1 0,-1 1,2-2,0 1,-1 0,1 0,0 0,-1-1,1 1,0 0,0 0,-1 0,1-1,0 1,0 0,0-1,-1 1,1 0,0 0,0-1,0 1,0 0,0-1,-1 1,1 0,0-2,0 0,0-1,0 0,0 1,0-1,0 0,0 1,2-4,2-6,0 1,12-22,-9 20,9-25,-3-6,-8 26</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02T14:55:26.157"/>
    </inkml:context>
    <inkml:brush xml:id="br0">
      <inkml:brushProperty name="width" value="0.3" units="cm"/>
      <inkml:brushProperty name="height" value="0.6" units="cm"/>
      <inkml:brushProperty name="color" value="#FFC997"/>
      <inkml:brushProperty name="tip" value="rectangle"/>
      <inkml:brushProperty name="rasterOp" value="maskPen"/>
      <inkml:brushProperty name="ignorePressure" value="1"/>
    </inkml:brush>
  </inkml:definitions>
  <inkml:trace contextRef="#ctx0" brushRef="#br0">360 162,'-15'1,"-29"5,31-3,-28 0,40-3,0 1,-1-1,1 0,0-1,0 1,0 0,-1 0,1 0,0-1,0 1,0 0,0-1,0 1,0-1,0 0,0 1,0-1,0 0,0 1,0-1,0 0,-1-2,2 2,-1 0,1 0,0 0,0 0,0 0,0 0,0 0,0 0,0 0,0 0,1-1,-1 1,0 0,1 0,-1 0,0 0,1 0,-1 1,1-1,0 0,-1 0,1 0,0 0,-1 0,1 1,1-2,11-8,-1 0,2 1,-1 0,1 1,1 0,24-8,-38 21,-1-4,-1 0,1 0,0 0,0-1,0 1,0 0,0 0,1 0,-1-1,0 1,0 0,0 0,1-1,-1 1,0 0,1 0,2 1,-1 0,0-1,1 1,0-1,-1 0,1 0,0 0,-1 0,1-1,0 1,0-1,0 1,-1-1,1 0,4 0,6-1,26-5,-30 4,4 0,7-1,0-1,0-1,0-1,29-12,-32 9,1 0,0 2,0 0,1 1,0 1,30-4,-48 9,0 0,0 0,1 0,-1 0,0 0,0 0,1 0,-1 1,0-1,0 0,0 1,0-1,1 1,-1-1,0 1,0 0,0-1,0 1,0 0,1 1,-1 0,0-1,0 1,0 0,0-1,-1 1,1 0,-1-1,1 1,-1 0,1 0,-1 0,0 2,0 6,-1-1,0 0,-1 0,-3 13,-7 33,-7 25,16-71,0 0,0-1,-1 0,-1 0,1 0,-12 14,-31 42,34-45,-1 0,-1-1,-24 24,-18 5,-14 14,-25 19,95-79,0 0,0 0,0-1,0 1,-1 0,1-1,0 1,0 0,-1-1,1 1,0-1,-1 0,1 0,-1 1,1-1,0 0,-1 0,-1 0,3-1,-1 1,0-1,0 1,0 0,0-1,1 0,-1 1,0-1,0 1,1-1,-1 0,1 0,-1 1,1-1,-1 0,1 0,-1 0,1 1,-1-1,1-1,-2-4,1 0,0-1,0 1,0 0,1 0,1-11,3-21,1 1,2 0,14-42,-13 58,-8 20,0 1,0 0,0 0,0 0,0-1,0 1,0 0,1 0,-1 0,0-1,0 1,0 0,0 0,0 0,0 0,0 0,1-1,-1 1,0 0,0 0,0 0,0 0,0 0,1 0,-1 0,0 0,0-1,0 1,1 0,-1 0,0 0,0 0,0 0,0 0,1 0,-1 0,0 0,0 0,0 0,1 0,-1 0,0 0,0 1,4 8,-4 15,-1-23,1 0,0 1,0-1,-1 0,1 0,0 0,-1-1,1 1,-1 0,1 0,-1 0,0 0,1 0,-1 0,0-1,0 1,1 0,-1-1,0 1,0-1,0 1,0-1,0 1,0-1,0 1,0-1,0 0,0 1,0-1,0 0,0 0,0 0,0 0,0 0,0 0,0 0,0 0,0-1,0 1,-1-1,-2 0,1 0,0-1,0 1,0-1,0 0,1 0,-1 0,0 0,1 0,-1-1,-2-3,-7-12,1 0,-9-23,-14-21,33 61,0-1,1 1,-1-1,0 1,-1 0,1-1,0 1,0 0,-1 0,1 0,0 0,-1 0,1 0,-1 0,1 1,-1-1,1 0,-1 1,0 0,-3-1,4 1,-1 0,0 1,0-1,1 0,-1 1,0 0,1-1,-1 1,1 0,-1 0,1 0,-1 0,1 0,0 0,0 1,-1-1,1 0,0 1,-2 2,0 2,-1 0,1 1,0-1,0 1,1 0,-1 0,2 0,-1 0,1 0,-1 8,1 12,3 38,-1-29,1 35,-12 107,5-129,3 0,3 60,2-85,1-1,1 0,8 24,8 39,-20-79,0-1,1 1,0-1,0 1,0-1,1 0,0 0,0 0,0 0,1 0,0-1,0 0,6 6,-3-3,-1-1,1 2,-2-1,1 1,-1-1,7 17,-7-10,0 0,-1 1,4 25,-7-28,2 1,-1-1,2-1,0 1,0 0,12 21,-13-29,-1-1,1 0,0 0,0-1,0 1,1-1,-1 1,1-1,0 0,0-1,0 1,0-1,1 1,-1-1,1 0,-1-1,1 1,0-1,-1 0,1 0,0-1,7 1,-6-1,0-1,1 0,-1 0,0 0,0-1,0 0,0 0,0 0,-1-1,1 0,-1 0,1-1,-1 1,7-8,-7 7,0 0,-1-1,1 0,-1 0,-1 0,1 0,-1 0,1-1,-2 0,1 0,-1 0,0 0,0 0,2-9,-3 1,0 0,-1 1,0-1,-1 1,-1-1,0 1,0-1,-2 1,0 0,0 0,-8-14,-12-28,-18-34,36 80,2 0,-1 0,1 0,1 0,0-1,0 1,1-1,0 0,0 0,1 0,1 0,0 0,1-11,-1 19,0 1,0-1,0 1,1-1,-1 1,0 0,1-1,-1 1,1-1,-1 1,1 0,0 0,0-1,0 1,-1 0,1 0,0 0,0 0,0 0,1 0,-1 0,0 0,0 0,0 1,1-1,-1 0,0 1,1-1,-1 1,1 0,-1-1,0 1,1 0,-1 0,1 0,-1 0,1 0,-1 0,1 0,1 1,3 0,0 0,-1 1,1 0,-1 0,0 0,0 1,0 0,0 0,5 4,27 17,-31-21,-1 0,1 1,0-1,-1 1,0 1,0-1,0 1,-1-1,0 1,6 9,0 5,-2 0,0 1,-1 0,6 31,-9-27,2 44,-5-47,1 1,6 27,-6-42,0 1,0-1,1 0,1 0,-1 0,1 0,0 0,0-1,1 0,6 8,-8-11,7 6,-1 1,0 0,-1 1,10 17,-17-26,1 1,-1-1,0 1,0-1,0 0,0 1,-1 0,1-1,-1 1,1-1,-1 1,0 0,0-1,0 1,0 0,-1-1,1 1,-1 0,0-1,1 1,-1-1,0 1,0-1,-1 0,1 1,0-1,-1 0,0 0,1 0,-3 2,-9 6,0 0,0-1,0 0,-21 8,18-9,0 1,1 0,-21 18,16-10,-30 36,42-43,1 0,0 0,1 0,0 1,1 0,-5 13,8-19,0 3,-1 0,0 0,-1 0,0-1,-6 11,9-16,0-1,0 0,0 0,0 0,0 0,-1 0,1 0,0 0,0 0,-1 0,1-1,-1 1,1 0,0-1,-1 1,1-1,-1 1,0-1,1 0,-1 0,1 0,-1 0,1 0,-1 0,1 0,-1 0,1-1,-1 1,1-1,-1 1,1-1,-1 1,1-1,0 0,-1 0,1 0,-2-1,-4-4,0 0,1-1,-1 0,1 0,1 0,-1-1,-4-9,-7-10,-10-14,2-2,-25-60,44 89,1 0,0 0,1-1,1 1,-3-27,4-74,2 103,1-36,-1-178,-15 108,13 98,-1 0,-1 0,-1 0,0 0,-13-29,-59-84,14 28,59 96,0-1,0 1,1 0,0-1,1 0,-2-13,2-3,1-31,1 51,0-1,1 1,0 0,0-1,1 1,2-7,6-12</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02T14:55:33.664"/>
    </inkml:context>
    <inkml:brush xml:id="br0">
      <inkml:brushProperty name="width" value="0.3" units="cm"/>
      <inkml:brushProperty name="height" value="0.6" units="cm"/>
      <inkml:brushProperty name="color" value="#FFC997"/>
      <inkml:brushProperty name="tip" value="rectangle"/>
      <inkml:brushProperty name="rasterOp" value="maskPen"/>
      <inkml:brushProperty name="ignorePressure" value="1"/>
    </inkml:brush>
  </inkml:definitions>
  <inkml:trace contextRef="#ctx0" brushRef="#br0">360 302,'4'0,"0"0,0-1,0 0,0 0,0 0,0 0,0-1,0 1,4-3,32-23,-22 15,-14 9,0 0,0 1,-1-1,1 0,-1-1,1 1,-1-1,0 1,4-8,-6 8,0 0,0 0,0-1,0 1,-1 0,1 0,-1-1,0 1,0 0,0-1,0 1,-1-1,1 1,-3-6,1-2,-2 0,0 0,0 0,0 1,-2 0,1 0,-13-17,14 22,0 1,0 0,-1-1,1 1,-1 0,0 1,0-1,0 1,-1 0,1 1,-1-1,1 1,-1 0,0 0,0 1,-9-1,5 0,0 2,0 0,1 0,-1 0,0 1,-13 3,18-2,-1 0,1 0,0 0,-1 1,1 0,0 0,0 0,1 0,-1 1,1 0,-8 8,7-6,0 0,1 1,0-1,0 1,1 0,0 0,0 0,0 1,1-1,0 1,-1 14,1 4,1 0,4 33,-1-3,-3 31,3 65,-1-146,0 1,0-1,1 0,-1 0,1 0,1 0,-1-1,1 1,0-1,6 8,4 4,27 26,-9-11,-26-26,1 1,0-2,0 1,0-1,1 0,0 0,10 5,-14-9,-1 1,1-1,0-1,0 1,0 0,0-1,-1 1,1-1,0 0,0 0,0 0,0 0,0 0,0-1,0 0,0 1,-1-1,1 0,0 0,0-1,-1 1,1 0,4-4,-3 1,1 0,-1 0,0 0,0 0,-1-1,1 0,-1 1,0-1,4-9,0-5,9-28,2-7,-17 51,5-9,-1 0,0-1,-1 1,-1-1,0 0,3-24,1-42,0-21,-7 66,0-3,1 1,8-50,-7 73,-2 6,1 1,0-1,1 1,3-10,-5 15,1 0,-1 0,0 1,1-1,-1 0,1 0,-1 0,1 1,0-1,-1 0,1 0,0 1,-1-1,1 1,0-1,0 0,0 1,-1 0,1-1,0 1,0-1,0 1,0 0,0 0,0 0,0-1,0 1,0 0,0 0,0 0,0 0,0 1,0-1,0 0,-1 0,3 1,-2 0,1 0,0 0,-1 0,1 0,-1 0,1 0,-1 0,0 0,1 1,-1-1,0 1,0-1,0 1,0-1,0 1,0 0,-1-1,1 1,-1 0,1 0,0 2,1 5,-1 0,1 18,-2-20,1 36,-8 75,4-94,-2 0,0 0,-2 0,-14 36,16-51,0 0,-1 0,0 0,-1 0,0-1,0 0,-1-1,1 0,-2 0,1 0,-1-1,0 0,-10 4,-1 0,0-1,0-1,-1-1,0-1,-30 5,38-9,0 0,0-1,0-1,-17-1,25 1,1-1,-1 1,1-1,0-1,-1 1,1-1,0 1,0-1,-1-1,2 1,-1 0,0-1,0 0,1 0,-6-5,-13-18,1-1,1-1,1-1,-23-47,11 20,25 4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02T14:56:11.955"/>
    </inkml:context>
    <inkml:brush xml:id="br0">
      <inkml:brushProperty name="width" value="0.2" units="cm"/>
      <inkml:brushProperty name="height" value="0.4" units="cm"/>
      <inkml:brushProperty name="color" value="#A85000"/>
      <inkml:brushProperty name="tip" value="rectangle"/>
      <inkml:brushProperty name="rasterOp" value="maskPen"/>
      <inkml:brushProperty name="ignorePressure" value="1"/>
    </inkml:brush>
  </inkml:definitions>
  <inkml:trace contextRef="#ctx0" brushRef="#br0">533 331,'35'0,"-1"-1,1-2,34-8,-36 4,-12 4,-1-2,26-9,-44 13,0 1,-1-1,1 0,0 0,0-1,0 1,-1 0,1-1,-1 1,1-1,1-1,-3 3,0-1,1 1,-1-1,0 1,0 0,0-1,0 1,0-1,1 1,-1-1,0 1,0-1,0 1,0 0,0-1,0 1,0-1,-1 1,1-1,0 1,0-1,-1 0,1 0,-1 1,1-1,-1 0,0 1,1-1,-1 0,0 1,1-1,-1 1,0-1,0 1,0-1,-1 1,-7-4,0 1,0 1,-1 0,1 0,-15-1,-53 2,47 1,-406 2,426-2,0 1,0 0,-1 0,1 1,0 0,0 1,1 0,-12 5,18-6,-1 0,0 0,0 0,1 1,-1-1,1 1,0 0,0 0,0 0,0 0,0 0,1 1,-1 0,1-1,0 1,0 0,1 0,-1 0,1 0,0 0,-2 7,0 33,3-31,-1-1,0 1,-1-1,-6 23,-27 90,35-124,-1 1,0-1,1 0,0 1,-1-1,1 1,0 0,0-1,-1 1,1-1,0 1,1-1,-1 3,0-4,0 0,1 1,-1-1,0 0,0 0,0 0,0 0,1 0,-1 0,0 0,0 1,0-1,1 0,-1 0,0 0,0 0,0 0,1 0,-1 0,0 0,0 0,1 0,-1 0,0 0,0 0,0 0,1 0,-1 0,0-1,13-6,7-6,1 2,42-18,-31 15,0-1,102-42,-114 50,0 1,0 1,1 1,39-3,-58 7,0-1,-1 1,1 0,0 0,0 1,0-1,-1 0,1 1,0-1,0 1,-1-1,3 2,-4-2,1 1,-1-1,0 0,1 1,-1-1,0 0,0 1,1-1,-1 0,0 1,0-1,0 1,1-1,-1 0,0 1,0-1,0 1,0-1,0 1,0 0,-5 13,-1-4,0-2,-1 1,0-1,-14 13,-37 27,23-20,16-13,2 1,0 1,1 0,0 1,2 0,-13 22,26-38,-1 0,1 0,0 0,0 1,1-1,-1 0,0 1,0 2,1-4,0-1,0 0,0 1,0-1,0 0,0 0,0 1,1-1,-1 0,0 1,0-1,0 0,0 0,0 1,1-1,-1 0,0 0,0 1,0-1,1 0,-1 0,0 0,0 1,1-1,-1 0,1 0,0 0,0 1,0-1,0 0,0 0,1 0,-1 0,0 0,0 0,0 0,0 0,2-1,15-5,0 0,0-1,0-1,16-10,9-4,183-91,-219 110,-3 0,0 0,1 1,-1-1,1 1,0 0,0 1,0-1,0 1,0 0,7 0,-12 1,1 0,-1 0,1 0,0 0,-1 0,1 0,-1 1,1-1,-1 0,1 0,0 1,-1-1,0 0,1 1,-1-1,1 1,-1-1,1 0,-1 1,0-1,1 1,-1-1,0 1,1-1,-1 1,0-1,0 1,1 0,-1-1,0 1,0-1,0 1,0 0,0-1,0 1,0-1,0 1,0 0,0-1,0 1,0-1,-1 1,1-1,0 1,0 0,-1-1,1 1,-2 4,0 0,-1 0,-5 8,-2 3,-25 25,4-5,-133 197,151-212,9-16,2 0,-1-1,0 1,0-1,0 0,0 0,-1-1,1 1,-1-1,0 1,-8 4,12-8,0 0,-1 0,1 0,0 0,-1 0,1 0,0 0,-1 1,1-1,0 0,-1 0,1 0,0 0,-1 0,1-1,0 1,-1 0,1 0,0 0,-1 0,1 0,0 0,0 0,-1-1,1 1,0 0,-1 0,1 0,0-1,0 1,-1 0,1 0,0-1,0 1,0 0,0-1,-1 1,1 0,0-1,0 1,0 0,0-1,-1-4,0 0,0 1,1-1,-1 0,1 0,0 0,1-5,7-40,-5 32,3-13,-6 25,-2 6,-7 10,-13 23,20-31,-30 46,14-22,-18 34,36-59,-1 0,1 0,-1 0,1 0,-1 0,1 0,-1 0,0-1,1 1,-1 0,0 0,0 0,0-1,1 1,-3 1,-1-7,-1-9,-29-299,34 323,-2 60,2-63,-1-1,0 1,-1 0,0-1,0 1,0-1,-1 0,-3 7,6-13,0 1,-1 0,1-1,0 1,-1 0,1-1,-1 1,1-1,-1 1,1-1,-1 1,0-1,1 0,-1 1,1-1,-1 0,0 1,1-1,-1 0,0 0,1 0,-1 1,0-1,-1 0,1 0,0-1,0 1,-1-1,1 1,0-1,0 1,0-1,0 1,-1-1,1 0,0 0,0 0,0 0,-6-6,2 0,-1-1,-6-10,7 9,-26-40,18 27,-27-36,39 57,1 0,-1 0,0 0,1 1,-1-1,0 0,0 1,1-1,-1 0,0 1,0-1,0 1,0 0,0-1,0 1,0 0,-1-1,2 1,-1 0,1 0,-1 0,1 1,-1-1,1 0,-1 0,1 0,0 1,-1-1,1 0,-1 1,1-1,0 0,-1 1,1-1,0 0,0 1,-1-1,1 1,0-1,0 0,-1 1,1 0,-2 4,1 0,0 0,0 0,-1 9,0 39,5 66,-1-102,0 0,2-1,-1 1,9 21,31 62,7-9,-30-56,23 51,-38-74,2 0,12 18,-13-21,0 0,-1 1,0-1,0 1,3 10,6 35,-14-55,0 0,0 1,0-1,0 0,0 0,1 1,-1-1,0 0,0 0,0 1,1-1,-1 0,0 0,0 0,0 1,1-1,-1 0,0 0,0 0,1 0,-1 0,0 1,1-1,-1 0,0 0,0 0,1 0,-1 0,0 0,1 0,-1 0,0 0,0 0,1 0,-1 0,0 0,1 0,-1-1,0 1,0 0,1 0,-1 0,0 0,0 0,1-1,-1 1,0 0,0 0,1 0,-1-1,18-15,-7 6,14-6,0 1,45-19,14-7,165-98,-240 135,0 0,0 0,0 1,1 0,0 0,14-1,59 0,-54 4,28-5,18-2,118 4,-119 4,-36 3,-29-3,1 0,-1 0,11-1,-18-1,-1 1,0-1,0 1,1 0,-1-1,0 0,0 1,0-1,1 0,-1 0,0 0,0 1,0-1,0 0,-1 0,1-1,0 1,0 0,-1 0,1 0,0-2,11-30,-11 28,9-33,-3-1,-1 1,-1-1,-2-63,-4-282,1 378,-1 0,1-1,-2 1,1 0,-1 0,0 0,0 0,0 0,-5-8,-5-5,-18-24,5 9,16 21,-2 0,0 0,0 1,-2 0,-13-10,0 3,-48-27,2 12,6 4,43 18,-1 2,0 1,-1 0,0 2,0 1,-40-4,46 7,1-1,-25-8,23 6,-23-4,35 8,0 2,1-1,-1 1,0 0,0 0,-12 3,11-1,1 1,-1-1,1 2,0-1,-1 1,2 0,-15 10,3 1,-26 27,-1 1,41-38,-6 4,-16 18,24-24,2-1,-1 0,0 0,0 1,1-1,0 1,-1 0,1-1,0 1,0 0,0 0,1-1,-1 1,1 0,-1 3,1-5,1 0,-1 0,0 0,0 1,1-1,-1 0,1 0,-1 0,1 0,-1 0,1 0,0 0,-1 0,1-1,0 1,0 0,0 0,-1 0,1-1,0 1,0-1,2 2,1 0,1 0,0 0,10 2,11 1,1-1,36 2,58-5,-77-2,176-1,-216 1,0 2,0-1,-1 0,1 1,0 0,6 1,-9-1,1 0,-1 0,0-1,1 1,-1 0,0 0,0 0,0 0,0 0,0 1,0-1,0 0,0 0,0 1,-1-1,1 0,0 1,-1-1,1 1,-1 1,2 5,-1 0,0 0,-1 1,0-1,0 0,-1 0,0 0,-1 0,1 0,-1 0,-1 0,0-1,0 1,0-1,-1 0,-8 13,0-3,-1 0,-1-1,0 0,-1-1,-23 18,-134 86,147-103,22-15,-10 10,13-6,10-1,-3-2,-1-1,1-1,-1 1,1-1,0-1,8 0,44-11,-59 12,58-15,83-34,49-36,-178 79,-8 3,0 1,1 0,0 0,-1 0,1 0,0 1,0 0,7-1,-10 3,-6 4,-10 7,0-1,-1 0,-1-1,-20 10,-12 8,3 3,-41 38,17-13,66-54,-14 11,17-13,-1 1,0-1,1 1,-1-1,0 1,0-1,1 0,-1 0,0 1,0-1,1 0,-1 0,0 0,0 0,0 0,1 0,-1 0,-1 0,2 0,-1-1,1 1,0-1,0 1,0-1,0 1,-1 0,1-1,0 1,0-1,0 1,0-1,0 1,0-1,0 1,0-1,1 1,-1-1,0 1,0 0,0-1,0 1,1-1,-1 1,0 0,0-1,1 1,-1-1,10-14,-3 5,1 0,1 0,0 1,0 1,18-13,-10 9,1 1,31-15,-45 24,1 1,0-1,-1 0,1 1,0 0,0 0,0 1,7-1,-10 1,-1 0,0 0,0 0,0 0,0-1,0 1,0 0,0-1,0 1,0-1,0 1,0-1,0 0,0 1,0-1,0 0,-1 0,1 1,0-1,1-1,10-23,-4 8,1 2,0 1,1-1,18-19,-24 30,-1 1,1 0,-1-1,1 1,0 1,0-1,0 1,1-1,-1 1,1 0,-1 1,1-1,-1 1,1 0,0 0,0 0,0 1,4 0,-7 0,0 0,0 0,0 1,0-1,0 1,0 0,0-1,0 1,-1 0,1 0,0 0,-1 0,1 1,0-1,2 3,-2-1,1 1,0-1,-1 1,0 0,0 0,3 7,-1 3,0-1,-1 1,2 22,-2 12,-6-85,3 0,0 1,9-58,-7 89,-1 5,2 10,2 5,-5-14,0-1,0 0,1 0,-1 0,0 0,0 1,0-1,0 0,0 0,0 0,0 0,0 1,0-1,1 0,-1 0,0 0,0 0,0 0,0 0,0 0,1 1,-1-1,0 0,0 0,0 0,0 0,1 0,-1 0,0 0,0 0,0 0,1 0,-1 0,0 0,0 0,0 0,0 0,1 0,-1 0,0 0,0 0,0 0,0-1,1 1,-1 0,0 0,0 0,0 0,0 0,1 0,-1 0,0-1,0 1,0 0,0 0,0 0,0 0,0-1,0 1,18-33,-14 24,1 1,7-13,-2 8,1 0,23-23,-29 31,1 1,1-1,-1 1,0 0,1 0,0 1,0 0,13-4,-17 7,0-1,0 0,0 1,0 0,0 0,0 0,-1 0,1 0,0 1,0-1,0 1,0 0,0 0,4 2,-3-1,0 0,-1 1,1-1,-1 1,1 0,-1 0,0 0,5 8,-1-1,-1 1,0 0,-1 1,0-1,-1 1,3 12,-2-5,-2 0,0 0,0 27,-5 60,0-29,2-33,-2 62,1-94,-1 1,0-1,-1 0,0 0,-1-1,-8 18,-22 46,-7 12,38-79,-1-1,-1 0,1 0,-1 0,-11 11,14-16,0-1,0 1,0-1,0 1,0-1,-1 0,1 0,-1 0,1 0,0 0,-1 0,0-1,1 1,-1-1,1 0,-1 0,0 0,1 0,-1 0,1 0,-1-1,-4-1,-2-1,1 0,-1 0,1-1,0-1,0 0,-8-6,-42-39,21 17,29 27,0-1,0 0,1 0,0 0,1-1,0 0,0 0,0-1,-8-17,-24-60,38 86,0-1,0 1,-1 0,1-1,0 1,0 0,0-1,0 1,0 0,-1-1,1 1,0 0,0 0,-1-1,1 1,0 0,0 0,-1-1,1 1,0 0,-1 0,1 0,0-1,0 1,-1 0,1 0,-1 0,1 0,0 0,-1 0,1 0,-1 0,0 0,1 1,-1-1,1 1,-1-1,1 1,-1 0,1-1,0 1,-1 0,1-1,0 1,-1 0,1-1,0 2,-6 28,5-21,0-1,1 0,0 1,1-1,0 0,0 1,1-1,0 0,0 0,5 11,-4-13,0-1,0 0,0 1,1-1,0-1,0 1,0-1,0 1,1-1,0 0,0-1,0 1,0-1,11 5,-11-7,0 2,0-1,0 1,0-1,-1 1,1 0,-1 1,0-1,0 1,0 0,0 0,3 5,-6-8,-1-1,0 1,0-1,1 1,-1 0,0-1,0 1,0-1,0 1,0-1,0 1,0-1,0 1,0-1,0 1,0 0,0-1,0 1,-1-1,1 1,0-1,0 1,-1-1,1 1,0-1,0 1,-1-1,1 0,-1 1,1-1,0 1,-1-1,1 0,-1 1,1-1,-1 0,1 0,-1 1,1-1,-1 0,1 0,-1 0,1 0,-2 1,-26 3,27-4,-8 1,-1 0,0-1,0 0,0-1,1 0,-1-1,0 0,1 0,-1-1,-9-4,7 1,-1 0,0 1,0 0,-23-4,11 3,0 0,-29-13,35 11,0 2,0 0,-1 1,-38-5,31 10,18 0,1 0,-17-2,22 1,1 0,-1 1,0-1,0 0,1-1,-1 1,1 0,-1-1,1 1,-1-1,1 0,-3-3,1 1,0 1,0-1,0 1,-1 0,1 0,-1 0,1 0,-1 1,0 0,0 0,-6-1,0 1,0 0,0 1,-1 0,-14 1,12 0,14 0,0 0,1 0,-1 0,0 0,0 0,0 0,0 0,0 0,0 0,0 0,0-1,0 1,0 0,0 0,0 0,0 0,0 0,0 0,0 0,1 0,-1 0,0 0,0 0,0 0,0 0,0 0,0 0,0 0,0 0,0 0,0 0,0 0,0 0,0-1,0 1,0 0,0 0,0 0,0 0,0 0,0 0,0 0,0 0,0 0,0 0,0 0,0 0,0 0,0 0,0 0,0-1,0 1,0 0,0 0,0 0,0 0,0 0,-1 0,1 0,0 0,0 0,0 0,30-9,57-13,241-72,-316 90,4-2,32-7,-42 12,-1 0,1 1,0-1,0 1,0 0,-1 1,1 0,0 0,8 2,14 7,0-1,1-2,0-1,55 4,-80-10,0 0,-1 0,1-1,0 0,0 1,-1-1,1-1,-1 1,7-3,-9 3,-1 1,1-1,0 1,0-1,-1 1,1-1,0 0,-1 1,1-1,0 0,-1 0,1 1,-1-1,1 0,-1 0,0 0,1 0,-1 0,0 1,0-1,0 0,1 0,-1 0,0 0,0 0,0 0,0 0,-1 0,1 0,0 0,0 0,-1 1,1-1,0 0,-1 0,1 0,0 0,-1 1,0-1,1 0,-1 0,1 1,-1-1,-1-1,-14-12,-3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02T14:56:27.437"/>
    </inkml:context>
    <inkml:brush xml:id="br0">
      <inkml:brushProperty name="width" value="0.2" units="cm"/>
      <inkml:brushProperty name="height" value="0.4" units="cm"/>
      <inkml:brushProperty name="color" value="#A85000"/>
      <inkml:brushProperty name="tip" value="rectangle"/>
      <inkml:brushProperty name="rasterOp" value="maskPen"/>
      <inkml:brushProperty name="ignorePressure" value="1"/>
    </inkml:brush>
  </inkml:definitions>
  <inkml:trace contextRef="#ctx0" brushRef="#br0">534 266,'-51'4,"40"-3,9-1,0 1,0-1,1 0,-1 0,0-1,1 1,-1 0,0-1,1 1,-1-1,0 1,1-1,-1 0,1 1,-1-1,1 0,-1 0,1 0,0 0,0 0,-1-1,1 1,-2-3,-1-2,1-1,-1 1,1-1,-3-10,-4-8,6 18,0 0,-1 0,0 0,0 1,-1 0,0 0,0 0,0 1,0 0,-10-6,4 4,-1 0,1 1,-1 1,0-1,-17-3,27 8,-1 1,1-1,-1 0,0 1,1 0,-1 0,0 0,1 0,-1 1,0-1,-6 3,8-2,0 0,0 0,0 0,0 0,0 1,1-1,-1 0,0 1,1-1,-1 1,1 0,0-1,-1 1,1 0,0 0,0 0,0 0,0 0,1 0,-1 0,0 3,-2 14,1 0,1 1,0-1,5 35,-1 2,-4 33,0-38,6 65,-1-94,1 0,13 37,0-4,-13-41,0 0,1 0,0-1,1 0,1 0,0-1,1 0,0 0,1-1,0-1,15 14,-20-20,1-1,-1 1,1-1,0 0,0 0,0-1,0 1,0-2,0 1,1 0,10 0,6-1,46-2,-29-1,-32 2,1-1,-1 1,0-1,0-1,0 0,14-4,-19 4,0 1,0 0,-1-1,1 0,-1 1,1-1,-1 0,0-1,0 1,0 0,0 0,0-1,0 1,0-1,-1 0,0 0,1 1,-1-1,0 0,0 0,0-5,5-33,1-47,-6 68,-2-32,0 40,1-1,0 1,1-1,0 1,6-24,-4 31,-1 8,0 9,1 151,-4-99,1-64,0 1,0-1,0 0,0 0,0 0,0 0,0 0,0 1,0-1,0 0,0 0,0 0,0 0,0 0,0 1,0-1,0 0,0 0,0 0,0 0,0 0,0 1,0-1,0 0,0 0,0 0,0 0,0 0,1 0,-1 0,0 1,0-1,0 0,0 0,0 0,0 0,0 0,1 0,-1 0,0 0,0 0,6-5,9-20,-10 16,96-136,-97 139,0 0,0-1,-1 1,0-1,0 0,-1 0,0 0,0 0,0 0,0-12,0-6,-5-45,1 20,2 39,0-3,0 0,-1 0,0 0,-1-1,-1 1,0 1,-6-18,1 15,-1 0,0 1,-1-1,-1 2,0 0,-1 0,0 1,-25-20,30 27,0 1,-1 0,0 1,0-1,0 1,-15-4,-55-12,62 16,-2 0,-1 0,1 2,-21-1,32 3,1 0,-1 1,1-1,-1 2,0-1,1 1,0 0,-1 0,1 0,0 1,0 0,-6 4,-13 11,0 0,2 1,0 2,-36 42,52-53,1 0,1 1,0 0,0 0,1 0,0 0,1 1,-2 12,1-3,-9 22,12-42,1 0,0 0,0 0,-1 0,1 0,-1 0,1-1,-1 1,1 0,-1 0,0 0,1 0,-1-1,0 1,-1 1,1-2,0 0,0 0,0 0,0 0,0-1,0 1,0 0,0 0,0-1,0 1,1 0,-1-1,-2 0,2 0,1 1,-1-1,0 1,1 0,-1 0,0-1,0 1,0 0,1 0,-1 0,0 0,0 0,1 0,-1 0,0 0,0 0,0 0,1 0,-1 1,0-1,0 0,1 0,-1 1,0 0,-1-1,1 1,0 1,0-1,0 0,0 0,0 0,0 0,1 1,-1-1,0 0,0 3,-1 2,0 0,1 0,0 0,0 0,0 6,1-1,0 0,1 0,1 0,0 0,0 0,1-1,0 1,10 18,-3-9,1 0,1 0,19 22,-14-17,18 31,-21-32,29 41,-38-59,-1 0,0 1,0-1,-1 1,0 0,0 0,-1 1,0-1,1 8,4 11,-6-23,0 0,1-1,-1 0,0 1,1-1,-1 0,1 0,0 1,0-1,0-1,0 1,0 0,0 0,0-1,1 1,-1-1,0 0,1 0,-1 0,1 0,0 0,-1 0,1-1,0 1,-1-1,4 0,5 1,0-1,-1 0,1-1,-1 0,17-4,-20 3,0 0,-1 0,0 0,0-1,0 0,0 0,0-1,0 1,9-9,-12 8,1 1,-1-1,0 0,0 0,0 0,0-1,-1 1,0-1,1 1,-2-1,1 0,-1 0,2-9,8-46,-6 42,-1-1,-1 0,-1 1,-1-1,-1-24,-1 40,1 1,0-1,-1 0,1 1,-1-1,0 1,0-1,0 1,0-1,0 1,-1 0,1-1,-1 1,1 0,-1 0,0 0,0 0,0 1,0-1,-2-1,-1 1,1 0,-1 0,1 1,-1 0,0-1,1 2,-1-1,0 1,0-1,-5 2,4-2,-1 2,1-1,0 1,0 0,-1 0,-7 4,10-4,1 1,0-1,0 1,0 0,0 0,0 0,0 1,1-1,-1 1,1-1,-1 1,-1 4,-4 2,7-9,1 0,0 0,0 0,0 0,0 0,0 0,0 0,0 0,0 0,-1 0,1 0,0 0,0 0,0 0,0 0,0 0,0 0,0 0,0 0,-1 0,1 0,0 0,0 0,0 0,0 0,0-1,0 1,0 0,0 0,0 0,0 0,-1 0,1 0,0 0,0 0,0 0,0 0,0-1,0 1,0 0,0 0,0 0,0 0,0 0,0 0,0 0,0-21,0 13,1-1,-1 0,0 0,-1 0,-3-14,3 18,0 1,-1 0,1 0,-1 0,0 0,0 0,-1 0,1 1,-1-1,0 1,1 0,-5-4,-6-3,0 1,0 1,-25-13,-13-7,40 21,4 2,-1 0,0 0,0 1,-12-5,19 8,-1 1,1-1,0 1,-1 0,1-1,-1 1,1 0,0 0,-1 0,1 0,-1 0,1 0,-1 0,1 0,0 1,-1-1,1 1,-1-1,1 1,0-1,0 1,-1 0,1 0,0-1,0 1,0 0,0 0,0 0,0 0,0 0,0 0,0 1,0-1,0 2,-2 3,1 0,0 0,1 0,-1 0,1 0,0 12,1 41,1-37,3 141,-4-157,1-1,0 1,1-1,-1 1,1-1,0 0,0 1,0-1,1 0,0-1,0 1,7 8,3 1,0-1,24 17,7 9,-29-25,0 1,-1 1,17 25,-28-35,2-1,-1 1,0-1,1 0,0 0,0-1,1 0,-1 0,1 0,0 0,0-1,0 0,0 0,1-1,-1 1,12 1,0-1,0-1,1 0,-1-1,38-4,-50 2,1 0,-1-1,0 1,0-1,1-1,-1 1,9-7,40-27,-43 27,-7 5,-1 1,0-1,0 0,0 0,0 0,-1 0,0 0,0-1,5-9,-4 4,0-1,-1 1,4-22,-3 11,1 0,1 0,15-34,-21 54,1 0,-1 0,1 0,-1 0,1 0,-1 0,1 1,-1-1,1 0,0 0,-1 1,1-1,1-1,-1 2,-1 0,0 0,0 0,0 0,1 0,-1 1,0-1,0 0,1 0,-1 0,0 0,0 0,0 0,0 1,1-1,-1 0,0 0,0 0,0 0,0 1,0-1,1 0,-1 0,0 1,0-1,0 0,0 0,0 0,0 1,0-1,0 0,0 0,0 1,1 3,-1 1,1-1,-1 1,-1 6,0 2,-1-1,0 0,-1 1,-1-1,1-1,-2 1,-8 17,10-24,0-1,-1 1,1 0,-1-1,0 0,0 0,0 0,-1 0,0-1,1 0,-1 0,0 0,0 0,-1-1,1 0,0 0,-1 0,-8 1,-39 5,0-2,-1-3,-64-3,108-1,0 0,0-1,0 0,0-1,1 0,-1 0,1-1,0 0,-14-8,11 4,0-1,0 0,1-1,0 0,1-1,-9-11,-65-95,-2-4,82 115,1 1,0-1,0 0,1 0,0 0,0 0,0 0,1-1,0 1,0-1,0 1,1-1,0 1,0-1,1 1,2-9,-1 5,2 0,-1 0,2 0,-1 0,1 1,1 0,-1 0,1 0,9-9,6-3,25-22,-12 12,-29 27,0-1,0 1,0 0,10-5,2 1</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02T14:56:41.606"/>
    </inkml:context>
    <inkml:brush xml:id="br0">
      <inkml:brushProperty name="width" value="0.1" units="cm"/>
      <inkml:brushProperty name="height" value="0.2" units="cm"/>
      <inkml:brushProperty name="color" value="#A85000"/>
      <inkml:brushProperty name="tip" value="rectangle"/>
      <inkml:brushProperty name="rasterOp" value="maskPen"/>
      <inkml:brushProperty name="ignorePressure" value="1"/>
    </inkml:brush>
  </inkml:definitions>
  <inkml:trace contextRef="#ctx0" brushRef="#br0">464 191,'0'1,"0"-1,0 1,1 0,-1 0,0-1,1 1,-1 0,1-1,-1 1,1 0,-1-1,1 1,-1 0,1-1,-1 1,1-1,0 1,0-1,-1 0,2 1,16 7,-10-6,1 0,-1-1,1 0,-1-1,1 0,-1 0,1-1,-1 0,1 0,-1-1,0 0,15-6,-8 3,-1-2,-1 1,1-2,-1 0,0-1,16-14,-14 10,4-6,1 2,1 1,0 1,40-22,-57 35,29-12,-31 13,0 1,0-1,1 1,-1-1,0 1,0 0,0 0,1 0,-1 0,0 0,0 1,1-1,1 1,-4-1,1 0,-1 0,0 0,0 0,1 0,-1 0,0 0,0 1,0-1,1 0,-1 0,0 0,0 0,0 0,1 0,-1 0,0 1,0-1,0 0,0 0,1 0,-1 0,0 1,0-1,0 0,0 0,0 1,0-1,0 0,0 0,0 0,0 1,1-1,-1 0,0 0,0 1,0-1,-1 0,1 0,0 0,0 1,0-1,0 0,0 0,0 1,0-1,0 0,0 0,-12 9,-2-4,-1 0,1-1,-1-1,-27 4,27-6,0 2,0 0,1 0,-1 1,-20 10,31-13,1 1,0 0,0 1,0-1,0 0,0 1,-3 4,6-7,-1 1,1-1,-1 1,1-1,0 1,-1 0,1-1,0 1,-1 0,1-1,0 1,0 0,-1-1,1 1,0 0,0-1,0 1,0 0,0-1,0 1,0 0,0 0,1-1,-1 1,0 0,0-1,0 1,1 0,-1-1,0 1,1-1,-1 1,1-1,-1 1,1 0,-1-1,1 1,-1-1,1 0,-1 1,1-1,-1 1,1-1,0 0,0 1,5 1,0 0,0 0,0 0,0-1,0 0,0 0,0 0,11-1,-8 0,0-1,0 0,-1 0,1-1,14-5,8-6,-21 8,1 0,0 1,0 1,0-1,0 2,14-3,91 5,-77 1,77-7,27-16,-110 20,44 1,-71 1,-157 1,149-1,-1 0,1 1,0-1,0 1,0-1,0 1,-1 0,1-1,0 1,0 0,1 1,-1-1,0 0,-3 3,5-4,-1 1,1 0,-1 0,1 0,-1 0,1-1,-1 1,1 0,0 0,0 0,-1 0,1 0,0 0,0 0,0 0,0 0,0 0,0 0,0 0,0 0,1 0,-1 0,0 0,1 0,-1-1,0 1,1 0,-1 0,1 0,-1 0,1-1,0 1,-1 0,1 0,1 0,4 4,0 0,0 0,0-1,0 0,1-1,-1 1,13 4,-11-6,0 2,-1-1,0 1,1 0,-2 1,8 5,-13-10,-1 1,1-1,-1 0,1 1,-1-1,1 1,-1-1,0 0,1 1,-1-1,0 1,1-1,-1 1,0 0,1-1,-1 1,0-1,0 1,0-1,0 1,0 0,1-1,-1 1,0-1,0 1,-1 1,1-2,-1 1,1-1,-1 1,0-1,1 1,-1-1,0 0,1 1,-1-1,0 0,1 0,-1 1,0-1,0 0,1 0,-1 0,-1 0,-8 0,1 0,-13-2,18 1,-104-18,76 11,-1 2,-55-3,-178 11,324-39,-44 30,0 1,1 0,0 1,29-6,65-3,-78 11,186-2,-185 6,-977-1,936 0,0 1,-1 0,1 1,0 0,-12 4,-44 20,47-18,9-4,1 0,0 0,1 1,-1 0,-10 9,15-12,0 1,1 0,-1 0,1 0,-1 0,1 0,0 1,0-1,1 1,-1 0,1-1,-1 1,1 0,0 0,0 5,0 24,1-21,0 0,-3 12,2-20,1 0,-2-1,1 1,0 0,-1-1,1 1,-1 0,0-1,0 0,-4 4,-5 8,-2-1,0-1,-1 0,0-1,-16 11,27-22,0 1,0-1,0 1,0-1,0 0,0 0,0 0,0-1,0 1,-1-1,1 1,-5-2,6 1,1 0,-1 0,0-1,1 1,-1-1,1 0,-1 1,1-1,-1 0,1 0,-1 0,1 0,0 0,0 0,0 0,-1-1,1 1,0 0,0-1,1 1,-1-1,0 1,0-1,1 1,-1-1,0-2,-1-5,0-1,1 0,0 0,1-11,0 10,-1 1,0-1,-3-16,-2 9,4 12,0 0,0 0,1-1,0 1,0 0,0-1,1-12,0 18,0 1,0-1,0 0,1 0,-1 0,0 0,1 0,-1 0,1 0,-1 0,1 1,-1-1,1 0,-1 0,1 0,0 1,-1-1,1 1,0-1,0 0,0 1,0-1,-1 1,1 0,0-1,0 1,0 0,0-1,0 1,0 0,0 0,0 0,0 0,0 0,0 0,0 0,0 0,0 0,1 1,4 0,0 1,0-1,0 2,0-1,5 3,1 2,0 0,0 1,-1 0,0 1,-1 0,0 0,0 1,-1 1,0-1,-1 1,0 1,9 19,-15-28,-1 0,1-1,0 1,0-1,0 1,0-1,1 0,-1 0,1 0,-1 0,1 0,0 0,-1-1,1 1,0-1,0 0,0 0,0 0,0 0,1-1,-1 1,4-1,-4 0,1 0,0 0,-1 0,1-1,0 1,-1-1,1 0,-1 0,1 0,-1-1,1 1,-1-1,0 0,0 0,0 0,0 0,0-1,0 1,2-4,-3 3,0 1,0-1,-1 0,1 0,-1 0,0 0,1 0,-1 0,-1-1,2-4,0-32,-2 39,-1-2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02T14:56:44.617"/>
    </inkml:context>
    <inkml:brush xml:id="br0">
      <inkml:brushProperty name="width" value="0.1" units="cm"/>
      <inkml:brushProperty name="height" value="0.2" units="cm"/>
      <inkml:brushProperty name="color" value="#A85000"/>
      <inkml:brushProperty name="tip" value="rectangle"/>
      <inkml:brushProperty name="rasterOp" value="maskPen"/>
      <inkml:brushProperty name="ignorePressure" value="1"/>
    </inkml:brush>
  </inkml:definitions>
  <inkml:trace contextRef="#ctx0" brushRef="#br0">2 1,'-1'25,"1"-9,2 27,-2-38,1 1,1-1,-1 1,1-1,0 0,0 0,0 0,6 9,6 4,1-1,1 0,0-1,1-1,27 20,-40-33,25 23,-23-19,1 0,0 0,0 0,0-1,1 0,0-1,0 0,0 0,16 5,0-6,0 0,1-2,-1 0,1-2,24-4,-46 5,0 0,0-1,0 0,0 1,0-1,0 0,-1-1,4-1,4-4</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17D69BB-122F-4E59-817A-150575C04547}" type="datetimeFigureOut">
              <a:rPr lang="en-GB" smtClean="0"/>
              <a:t>01/08/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5E53A26-894D-4E42-AA7A-A7E3CE8BE559}" type="slidenum">
              <a:rPr lang="en-GB" smtClean="0"/>
              <a:t>‹#›</a:t>
            </a:fld>
            <a:endParaRPr lang="en-GB"/>
          </a:p>
        </p:txBody>
      </p:sp>
    </p:spTree>
    <p:extLst>
      <p:ext uri="{BB962C8B-B14F-4D97-AF65-F5344CB8AC3E}">
        <p14:creationId xmlns:p14="http://schemas.microsoft.com/office/powerpoint/2010/main" val="4893236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bmcmedicine.biomedcentral.com/articles/10.1186/s12916-020-01563-4"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effectLst/>
                <a:latin typeface="Calibri" panose="020F0502020204030204" pitchFamily="34" charset="0"/>
                <a:ea typeface="Times New Roman" panose="02020603050405020304" pitchFamily="18" charset="0"/>
              </a:rPr>
              <a:t>Braithwaite  </a:t>
            </a:r>
            <a:r>
              <a:rPr lang="en-GB" sz="1800" dirty="0">
                <a:solidFill>
                  <a:srgbClr val="333333"/>
                </a:solidFill>
                <a:effectLst/>
                <a:latin typeface="Times New Roman" panose="02020603050405020304" pitchFamily="18" charset="0"/>
                <a:ea typeface="Calibri" panose="020F0502020204030204" pitchFamily="34" charset="0"/>
                <a:cs typeface="Calibri" panose="020F0502020204030204" pitchFamily="34" charset="0"/>
              </a:rPr>
              <a:t>. </a:t>
            </a:r>
            <a:r>
              <a:rPr lang="en-GB" sz="1800" dirty="0">
                <a:effectLst/>
                <a:latin typeface="Times New Roman" panose="02020603050405020304" pitchFamily="18" charset="0"/>
                <a:ea typeface="Calibri" panose="020F0502020204030204" pitchFamily="34" charset="0"/>
                <a:cs typeface="Calibri" panose="020F0502020204030204" pitchFamily="34" charset="0"/>
              </a:rPr>
              <a:t>Glasziou </a:t>
            </a:r>
            <a:r>
              <a:rPr lang="en-GB" sz="1800" u="sng" dirty="0">
                <a:solidFill>
                  <a:srgbClr val="0563C1"/>
                </a:solidFill>
                <a:effectLst/>
                <a:latin typeface="Times New Roman" panose="02020603050405020304" pitchFamily="18" charset="0"/>
                <a:ea typeface="Calibri" panose="020F0502020204030204" pitchFamily="34" charset="0"/>
                <a:cs typeface="Calibri" panose="020F0502020204030204" pitchFamily="34" charset="0"/>
                <a:hlinkClick r:id="rId3"/>
              </a:rPr>
              <a:t>https://bmcmedicine.biomedcentral.com/articles/10.1186/s12916-020-01563-4</a:t>
            </a:r>
            <a:endParaRPr lang="en-GB" sz="1800" dirty="0">
              <a:effectLst/>
              <a:latin typeface="Times New Roman" panose="02020603050405020304" pitchFamily="18" charset="0"/>
              <a:ea typeface="Calibri" panose="020F0502020204030204" pitchFamily="34" charset="0"/>
            </a:endParaRP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0000"/>
                </a:solidFill>
                <a:effectLst/>
                <a:uLnTx/>
                <a:uFillTx/>
                <a:latin typeface="Arial"/>
                <a:ea typeface="+mn-ea"/>
                <a:cs typeface="+mn-cs"/>
              </a:rPr>
              <a:t>Hardcastle, A.C.  et al. The dynamics of quality: a national panel study of evidence-based standards. Health Services and Delivery Research. 3(11) April 2015</a:t>
            </a:r>
          </a:p>
          <a:p>
            <a:endParaRPr lang="en-GB"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NHS Improvement</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90AB7D-FC04-41BF-88F7-E47891A0628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0759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4DA73-AE27-4433-BD53-3E1DB61918F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23423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21487E-A341-4C31-BE4E-E7C8859779B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1BF0B59E-2522-422D-80E0-9C9C01E73C7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0DE61690-F652-411E-8700-3DC8C6E6157C}"/>
              </a:ext>
            </a:extLst>
          </p:cNvPr>
          <p:cNvSpPr>
            <a:spLocks noGrp="1"/>
          </p:cNvSpPr>
          <p:nvPr>
            <p:ph type="dt" sz="half" idx="10"/>
          </p:nvPr>
        </p:nvSpPr>
        <p:spPr/>
        <p:txBody>
          <a:bodyPr/>
          <a:lstStyle/>
          <a:p>
            <a:fld id="{2EFBDD21-3B9A-444C-B391-3A2426FE1562}" type="datetimeFigureOut">
              <a:rPr lang="en-GB" smtClean="0"/>
              <a:t>01/08/2022</a:t>
            </a:fld>
            <a:endParaRPr lang="en-GB"/>
          </a:p>
        </p:txBody>
      </p:sp>
      <p:sp>
        <p:nvSpPr>
          <p:cNvPr id="5" name="Footer Placeholder 4">
            <a:extLst>
              <a:ext uri="{FF2B5EF4-FFF2-40B4-BE49-F238E27FC236}">
                <a16:creationId xmlns:a16="http://schemas.microsoft.com/office/drawing/2014/main" id="{4D09F625-6B81-42C5-8562-4E2A240F890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486B2DF-E7B9-4B97-A5C5-E04CD019AEE5}"/>
              </a:ext>
            </a:extLst>
          </p:cNvPr>
          <p:cNvSpPr>
            <a:spLocks noGrp="1"/>
          </p:cNvSpPr>
          <p:nvPr>
            <p:ph type="sldNum" sz="quarter" idx="12"/>
          </p:nvPr>
        </p:nvSpPr>
        <p:spPr/>
        <p:txBody>
          <a:bodyPr/>
          <a:lstStyle/>
          <a:p>
            <a:fld id="{55B96285-05FD-4992-919D-63CEE9F74ED4}" type="slidenum">
              <a:rPr lang="en-GB" smtClean="0"/>
              <a:t>‹#›</a:t>
            </a:fld>
            <a:endParaRPr lang="en-GB"/>
          </a:p>
        </p:txBody>
      </p:sp>
    </p:spTree>
    <p:extLst>
      <p:ext uri="{BB962C8B-B14F-4D97-AF65-F5344CB8AC3E}">
        <p14:creationId xmlns:p14="http://schemas.microsoft.com/office/powerpoint/2010/main" val="26460881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CB3B4-B533-484A-B977-47BC3679A976}"/>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AC4A816-086E-4DD5-B48D-6E4271F5615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F8148DD-DE2D-45AF-96F2-7373728A9792}"/>
              </a:ext>
            </a:extLst>
          </p:cNvPr>
          <p:cNvSpPr>
            <a:spLocks noGrp="1"/>
          </p:cNvSpPr>
          <p:nvPr>
            <p:ph type="dt" sz="half" idx="10"/>
          </p:nvPr>
        </p:nvSpPr>
        <p:spPr/>
        <p:txBody>
          <a:bodyPr/>
          <a:lstStyle/>
          <a:p>
            <a:fld id="{2EFBDD21-3B9A-444C-B391-3A2426FE1562}" type="datetimeFigureOut">
              <a:rPr lang="en-GB" smtClean="0"/>
              <a:t>01/08/2022</a:t>
            </a:fld>
            <a:endParaRPr lang="en-GB"/>
          </a:p>
        </p:txBody>
      </p:sp>
      <p:sp>
        <p:nvSpPr>
          <p:cNvPr id="5" name="Footer Placeholder 4">
            <a:extLst>
              <a:ext uri="{FF2B5EF4-FFF2-40B4-BE49-F238E27FC236}">
                <a16:creationId xmlns:a16="http://schemas.microsoft.com/office/drawing/2014/main" id="{4766262D-5738-4379-B029-63E4C6DBA74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95FDD24-C576-41A8-A243-9B1C0481CDCD}"/>
              </a:ext>
            </a:extLst>
          </p:cNvPr>
          <p:cNvSpPr>
            <a:spLocks noGrp="1"/>
          </p:cNvSpPr>
          <p:nvPr>
            <p:ph type="sldNum" sz="quarter" idx="12"/>
          </p:nvPr>
        </p:nvSpPr>
        <p:spPr/>
        <p:txBody>
          <a:bodyPr/>
          <a:lstStyle/>
          <a:p>
            <a:fld id="{55B96285-05FD-4992-919D-63CEE9F74ED4}" type="slidenum">
              <a:rPr lang="en-GB" smtClean="0"/>
              <a:t>‹#›</a:t>
            </a:fld>
            <a:endParaRPr lang="en-GB"/>
          </a:p>
        </p:txBody>
      </p:sp>
    </p:spTree>
    <p:extLst>
      <p:ext uri="{BB962C8B-B14F-4D97-AF65-F5344CB8AC3E}">
        <p14:creationId xmlns:p14="http://schemas.microsoft.com/office/powerpoint/2010/main" val="17872353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1A0B90C-C93F-4ABE-97E4-8D2AEAA906E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DB364D4-7EB0-4CA5-AFCB-13F50B84126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41CFA45-EB01-4E35-AFBF-4146E8A49689}"/>
              </a:ext>
            </a:extLst>
          </p:cNvPr>
          <p:cNvSpPr>
            <a:spLocks noGrp="1"/>
          </p:cNvSpPr>
          <p:nvPr>
            <p:ph type="dt" sz="half" idx="10"/>
          </p:nvPr>
        </p:nvSpPr>
        <p:spPr/>
        <p:txBody>
          <a:bodyPr/>
          <a:lstStyle/>
          <a:p>
            <a:fld id="{2EFBDD21-3B9A-444C-B391-3A2426FE1562}" type="datetimeFigureOut">
              <a:rPr lang="en-GB" smtClean="0"/>
              <a:t>01/08/2022</a:t>
            </a:fld>
            <a:endParaRPr lang="en-GB"/>
          </a:p>
        </p:txBody>
      </p:sp>
      <p:sp>
        <p:nvSpPr>
          <p:cNvPr id="5" name="Footer Placeholder 4">
            <a:extLst>
              <a:ext uri="{FF2B5EF4-FFF2-40B4-BE49-F238E27FC236}">
                <a16:creationId xmlns:a16="http://schemas.microsoft.com/office/drawing/2014/main" id="{89B4C40B-66FA-400E-AD08-BFFFAC25FE1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A6ED309-6F14-4E36-8DD7-69BDAA31B039}"/>
              </a:ext>
            </a:extLst>
          </p:cNvPr>
          <p:cNvSpPr>
            <a:spLocks noGrp="1"/>
          </p:cNvSpPr>
          <p:nvPr>
            <p:ph type="sldNum" sz="quarter" idx="12"/>
          </p:nvPr>
        </p:nvSpPr>
        <p:spPr/>
        <p:txBody>
          <a:bodyPr/>
          <a:lstStyle/>
          <a:p>
            <a:fld id="{55B96285-05FD-4992-919D-63CEE9F74ED4}" type="slidenum">
              <a:rPr lang="en-GB" smtClean="0"/>
              <a:t>‹#›</a:t>
            </a:fld>
            <a:endParaRPr lang="en-GB"/>
          </a:p>
        </p:txBody>
      </p:sp>
    </p:spTree>
    <p:extLst>
      <p:ext uri="{BB962C8B-B14F-4D97-AF65-F5344CB8AC3E}">
        <p14:creationId xmlns:p14="http://schemas.microsoft.com/office/powerpoint/2010/main" val="11811105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C452F-EE69-4EEA-83DF-6915F2BD530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9B0C5AF-40AD-4704-AF6C-AB4DFFD41E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ADDDDB7F-1B92-48A2-B089-D6BFF4AB93B2}"/>
              </a:ext>
            </a:extLst>
          </p:cNvPr>
          <p:cNvSpPr>
            <a:spLocks noGrp="1"/>
          </p:cNvSpPr>
          <p:nvPr>
            <p:ph type="dt" sz="half" idx="10"/>
          </p:nvPr>
        </p:nvSpPr>
        <p:spPr/>
        <p:txBody>
          <a:bodyPr/>
          <a:lstStyle/>
          <a:p>
            <a:fld id="{B5228511-F1C4-4C73-9866-F0276843F2AD}" type="datetimeFigureOut">
              <a:rPr lang="en-GB" smtClean="0"/>
              <a:t>01/08/2022</a:t>
            </a:fld>
            <a:endParaRPr lang="en-GB"/>
          </a:p>
        </p:txBody>
      </p:sp>
      <p:sp>
        <p:nvSpPr>
          <p:cNvPr id="5" name="Footer Placeholder 4">
            <a:extLst>
              <a:ext uri="{FF2B5EF4-FFF2-40B4-BE49-F238E27FC236}">
                <a16:creationId xmlns:a16="http://schemas.microsoft.com/office/drawing/2014/main" id="{118F1B34-E266-44C0-A3CB-E176151813F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DF436A6-D136-41EB-82A0-2F57DFEC77CF}"/>
              </a:ext>
            </a:extLst>
          </p:cNvPr>
          <p:cNvSpPr>
            <a:spLocks noGrp="1"/>
          </p:cNvSpPr>
          <p:nvPr>
            <p:ph type="sldNum" sz="quarter" idx="12"/>
          </p:nvPr>
        </p:nvSpPr>
        <p:spPr/>
        <p:txBody>
          <a:bodyPr/>
          <a:lstStyle/>
          <a:p>
            <a:fld id="{E3705FFB-4B25-4B2E-AF54-F86368903E9A}" type="slidenum">
              <a:rPr lang="en-GB" smtClean="0"/>
              <a:t>‹#›</a:t>
            </a:fld>
            <a:endParaRPr lang="en-GB"/>
          </a:p>
        </p:txBody>
      </p:sp>
    </p:spTree>
    <p:extLst>
      <p:ext uri="{BB962C8B-B14F-4D97-AF65-F5344CB8AC3E}">
        <p14:creationId xmlns:p14="http://schemas.microsoft.com/office/powerpoint/2010/main" val="34718905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3D796-2BEE-42B8-84AF-C42B2687239F}"/>
              </a:ext>
            </a:extLst>
          </p:cNvPr>
          <p:cNvSpPr>
            <a:spLocks noGrp="1"/>
          </p:cNvSpPr>
          <p:nvPr>
            <p:ph type="title"/>
          </p:nvPr>
        </p:nvSpPr>
        <p:spPr>
          <a:xfrm>
            <a:off x="131363" y="18255"/>
            <a:ext cx="10515600" cy="1325563"/>
          </a:xfrm>
        </p:spPr>
        <p:txBody>
          <a:bodyPr/>
          <a:lstStyle>
            <a:lvl1pPr>
              <a:defRPr b="1">
                <a:solidFill>
                  <a:schemeClr val="accent1"/>
                </a:solidFill>
                <a:latin typeface="+mn-lt"/>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BE06E023-D1D4-474D-AEEB-206672CD273C}"/>
              </a:ext>
            </a:extLst>
          </p:cNvPr>
          <p:cNvSpPr>
            <a:spLocks noGrp="1"/>
          </p:cNvSpPr>
          <p:nvPr>
            <p:ph idx="1"/>
          </p:nvPr>
        </p:nvSpPr>
        <p:spPr>
          <a:xfrm>
            <a:off x="288438" y="1343818"/>
            <a:ext cx="10515600" cy="4351338"/>
          </a:xfrm>
        </p:spPr>
        <p:txBody>
          <a:bodyPr>
            <a:normAutofit/>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D251AF6E-524D-40A6-AE54-DBF30D4B06F7}"/>
              </a:ext>
            </a:extLst>
          </p:cNvPr>
          <p:cNvSpPr>
            <a:spLocks noGrp="1"/>
          </p:cNvSpPr>
          <p:nvPr>
            <p:ph type="dt" sz="half" idx="10"/>
          </p:nvPr>
        </p:nvSpPr>
        <p:spPr/>
        <p:txBody>
          <a:bodyPr/>
          <a:lstStyle/>
          <a:p>
            <a:fld id="{B5228511-F1C4-4C73-9866-F0276843F2AD}" type="datetimeFigureOut">
              <a:rPr lang="en-GB" smtClean="0"/>
              <a:t>01/08/2022</a:t>
            </a:fld>
            <a:endParaRPr lang="en-GB"/>
          </a:p>
        </p:txBody>
      </p:sp>
      <p:sp>
        <p:nvSpPr>
          <p:cNvPr id="5" name="Footer Placeholder 4">
            <a:extLst>
              <a:ext uri="{FF2B5EF4-FFF2-40B4-BE49-F238E27FC236}">
                <a16:creationId xmlns:a16="http://schemas.microsoft.com/office/drawing/2014/main" id="{E8AC16DE-9CD9-4748-AFCB-8D766D2ACE6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ADF0D3B-6DEB-42EB-B1AB-B01017C036D1}"/>
              </a:ext>
            </a:extLst>
          </p:cNvPr>
          <p:cNvSpPr>
            <a:spLocks noGrp="1"/>
          </p:cNvSpPr>
          <p:nvPr>
            <p:ph type="sldNum" sz="quarter" idx="12"/>
          </p:nvPr>
        </p:nvSpPr>
        <p:spPr/>
        <p:txBody>
          <a:bodyPr/>
          <a:lstStyle/>
          <a:p>
            <a:fld id="{E3705FFB-4B25-4B2E-AF54-F86368903E9A}" type="slidenum">
              <a:rPr lang="en-GB" smtClean="0"/>
              <a:t>‹#›</a:t>
            </a:fld>
            <a:endParaRPr lang="en-GB"/>
          </a:p>
        </p:txBody>
      </p:sp>
    </p:spTree>
    <p:extLst>
      <p:ext uri="{BB962C8B-B14F-4D97-AF65-F5344CB8AC3E}">
        <p14:creationId xmlns:p14="http://schemas.microsoft.com/office/powerpoint/2010/main" val="39582744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564CB-418B-4A5C-B786-90165C9483C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53D00A5B-7E62-472C-B508-CA05EF90132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4D4E6FD-4086-48AF-9BF5-5A09A0708587}"/>
              </a:ext>
            </a:extLst>
          </p:cNvPr>
          <p:cNvSpPr>
            <a:spLocks noGrp="1"/>
          </p:cNvSpPr>
          <p:nvPr>
            <p:ph type="dt" sz="half" idx="10"/>
          </p:nvPr>
        </p:nvSpPr>
        <p:spPr/>
        <p:txBody>
          <a:bodyPr/>
          <a:lstStyle/>
          <a:p>
            <a:fld id="{B5228511-F1C4-4C73-9866-F0276843F2AD}" type="datetimeFigureOut">
              <a:rPr lang="en-GB" smtClean="0"/>
              <a:t>01/08/2022</a:t>
            </a:fld>
            <a:endParaRPr lang="en-GB"/>
          </a:p>
        </p:txBody>
      </p:sp>
      <p:sp>
        <p:nvSpPr>
          <p:cNvPr id="5" name="Footer Placeholder 4">
            <a:extLst>
              <a:ext uri="{FF2B5EF4-FFF2-40B4-BE49-F238E27FC236}">
                <a16:creationId xmlns:a16="http://schemas.microsoft.com/office/drawing/2014/main" id="{D5ECEB9B-30D1-4A8C-9CE9-779BC11225C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A928555-4659-4650-8543-AE9EC8287D58}"/>
              </a:ext>
            </a:extLst>
          </p:cNvPr>
          <p:cNvSpPr>
            <a:spLocks noGrp="1"/>
          </p:cNvSpPr>
          <p:nvPr>
            <p:ph type="sldNum" sz="quarter" idx="12"/>
          </p:nvPr>
        </p:nvSpPr>
        <p:spPr/>
        <p:txBody>
          <a:bodyPr/>
          <a:lstStyle/>
          <a:p>
            <a:fld id="{E3705FFB-4B25-4B2E-AF54-F86368903E9A}" type="slidenum">
              <a:rPr lang="en-GB" smtClean="0"/>
              <a:t>‹#›</a:t>
            </a:fld>
            <a:endParaRPr lang="en-GB"/>
          </a:p>
        </p:txBody>
      </p:sp>
    </p:spTree>
    <p:extLst>
      <p:ext uri="{BB962C8B-B14F-4D97-AF65-F5344CB8AC3E}">
        <p14:creationId xmlns:p14="http://schemas.microsoft.com/office/powerpoint/2010/main" val="18615448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9060A-25EB-47F7-AC23-431CDE76C34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F6B8D269-2FEF-4772-ADE4-F4D4B10C424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CF5A15F-D4DD-4183-9CA3-3685168D44A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7FAF491-45A8-4D27-BA85-7973485522AC}"/>
              </a:ext>
            </a:extLst>
          </p:cNvPr>
          <p:cNvSpPr>
            <a:spLocks noGrp="1"/>
          </p:cNvSpPr>
          <p:nvPr>
            <p:ph type="dt" sz="half" idx="10"/>
          </p:nvPr>
        </p:nvSpPr>
        <p:spPr/>
        <p:txBody>
          <a:bodyPr/>
          <a:lstStyle/>
          <a:p>
            <a:fld id="{B5228511-F1C4-4C73-9866-F0276843F2AD}" type="datetimeFigureOut">
              <a:rPr lang="en-GB" smtClean="0"/>
              <a:t>01/08/2022</a:t>
            </a:fld>
            <a:endParaRPr lang="en-GB"/>
          </a:p>
        </p:txBody>
      </p:sp>
      <p:sp>
        <p:nvSpPr>
          <p:cNvPr id="6" name="Footer Placeholder 5">
            <a:extLst>
              <a:ext uri="{FF2B5EF4-FFF2-40B4-BE49-F238E27FC236}">
                <a16:creationId xmlns:a16="http://schemas.microsoft.com/office/drawing/2014/main" id="{7420A560-56BE-4C0F-9107-F09C04FCEC1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7B4C95D-D603-4A13-97CD-9E36FA45D995}"/>
              </a:ext>
            </a:extLst>
          </p:cNvPr>
          <p:cNvSpPr>
            <a:spLocks noGrp="1"/>
          </p:cNvSpPr>
          <p:nvPr>
            <p:ph type="sldNum" sz="quarter" idx="12"/>
          </p:nvPr>
        </p:nvSpPr>
        <p:spPr/>
        <p:txBody>
          <a:bodyPr/>
          <a:lstStyle/>
          <a:p>
            <a:fld id="{E3705FFB-4B25-4B2E-AF54-F86368903E9A}" type="slidenum">
              <a:rPr lang="en-GB" smtClean="0"/>
              <a:t>‹#›</a:t>
            </a:fld>
            <a:endParaRPr lang="en-GB"/>
          </a:p>
        </p:txBody>
      </p:sp>
    </p:spTree>
    <p:extLst>
      <p:ext uri="{BB962C8B-B14F-4D97-AF65-F5344CB8AC3E}">
        <p14:creationId xmlns:p14="http://schemas.microsoft.com/office/powerpoint/2010/main" val="17269450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9CAC80-0EF9-4727-82FC-7E29C8B58505}"/>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75FD8E5-77AC-4121-9F86-C0265D98B41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6797987-6007-4623-A76D-06A5C70F32F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2BA5913-8A68-431A-9609-DAD592D53A5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E7979F2-D0D7-4475-A00B-80573822948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686E6856-CE8B-4349-B900-B2BA0388D3DB}"/>
              </a:ext>
            </a:extLst>
          </p:cNvPr>
          <p:cNvSpPr>
            <a:spLocks noGrp="1"/>
          </p:cNvSpPr>
          <p:nvPr>
            <p:ph type="dt" sz="half" idx="10"/>
          </p:nvPr>
        </p:nvSpPr>
        <p:spPr/>
        <p:txBody>
          <a:bodyPr/>
          <a:lstStyle/>
          <a:p>
            <a:fld id="{B5228511-F1C4-4C73-9866-F0276843F2AD}" type="datetimeFigureOut">
              <a:rPr lang="en-GB" smtClean="0"/>
              <a:t>01/08/2022</a:t>
            </a:fld>
            <a:endParaRPr lang="en-GB"/>
          </a:p>
        </p:txBody>
      </p:sp>
      <p:sp>
        <p:nvSpPr>
          <p:cNvPr id="8" name="Footer Placeholder 7">
            <a:extLst>
              <a:ext uri="{FF2B5EF4-FFF2-40B4-BE49-F238E27FC236}">
                <a16:creationId xmlns:a16="http://schemas.microsoft.com/office/drawing/2014/main" id="{7C908C3C-6A6F-4FE0-AD90-D046C8C066F0}"/>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B9CF1860-09D3-44F9-AA2A-B1728789356F}"/>
              </a:ext>
            </a:extLst>
          </p:cNvPr>
          <p:cNvSpPr>
            <a:spLocks noGrp="1"/>
          </p:cNvSpPr>
          <p:nvPr>
            <p:ph type="sldNum" sz="quarter" idx="12"/>
          </p:nvPr>
        </p:nvSpPr>
        <p:spPr/>
        <p:txBody>
          <a:bodyPr/>
          <a:lstStyle/>
          <a:p>
            <a:fld id="{E3705FFB-4B25-4B2E-AF54-F86368903E9A}" type="slidenum">
              <a:rPr lang="en-GB" smtClean="0"/>
              <a:t>‹#›</a:t>
            </a:fld>
            <a:endParaRPr lang="en-GB"/>
          </a:p>
        </p:txBody>
      </p:sp>
    </p:spTree>
    <p:extLst>
      <p:ext uri="{BB962C8B-B14F-4D97-AF65-F5344CB8AC3E}">
        <p14:creationId xmlns:p14="http://schemas.microsoft.com/office/powerpoint/2010/main" val="28840243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38077F-91C4-48FA-BDF7-20820842816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CEF74E5A-17F7-4545-AB09-77253522E393}"/>
              </a:ext>
            </a:extLst>
          </p:cNvPr>
          <p:cNvSpPr>
            <a:spLocks noGrp="1"/>
          </p:cNvSpPr>
          <p:nvPr>
            <p:ph type="dt" sz="half" idx="10"/>
          </p:nvPr>
        </p:nvSpPr>
        <p:spPr/>
        <p:txBody>
          <a:bodyPr/>
          <a:lstStyle/>
          <a:p>
            <a:fld id="{B5228511-F1C4-4C73-9866-F0276843F2AD}" type="datetimeFigureOut">
              <a:rPr lang="en-GB" smtClean="0"/>
              <a:t>01/08/2022</a:t>
            </a:fld>
            <a:endParaRPr lang="en-GB"/>
          </a:p>
        </p:txBody>
      </p:sp>
      <p:sp>
        <p:nvSpPr>
          <p:cNvPr id="4" name="Footer Placeholder 3">
            <a:extLst>
              <a:ext uri="{FF2B5EF4-FFF2-40B4-BE49-F238E27FC236}">
                <a16:creationId xmlns:a16="http://schemas.microsoft.com/office/drawing/2014/main" id="{EECCB1E5-44B8-4B64-92F5-AE397F92F28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771CA4D5-AC51-491D-BD15-E53BEEF8BDE3}"/>
              </a:ext>
            </a:extLst>
          </p:cNvPr>
          <p:cNvSpPr>
            <a:spLocks noGrp="1"/>
          </p:cNvSpPr>
          <p:nvPr>
            <p:ph type="sldNum" sz="quarter" idx="12"/>
          </p:nvPr>
        </p:nvSpPr>
        <p:spPr/>
        <p:txBody>
          <a:bodyPr/>
          <a:lstStyle/>
          <a:p>
            <a:fld id="{E3705FFB-4B25-4B2E-AF54-F86368903E9A}" type="slidenum">
              <a:rPr lang="en-GB" smtClean="0"/>
              <a:t>‹#›</a:t>
            </a:fld>
            <a:endParaRPr lang="en-GB"/>
          </a:p>
        </p:txBody>
      </p:sp>
    </p:spTree>
    <p:extLst>
      <p:ext uri="{BB962C8B-B14F-4D97-AF65-F5344CB8AC3E}">
        <p14:creationId xmlns:p14="http://schemas.microsoft.com/office/powerpoint/2010/main" val="14863957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D2866C-F67C-4FD8-BDE7-142D6B0309FE}"/>
              </a:ext>
            </a:extLst>
          </p:cNvPr>
          <p:cNvSpPr>
            <a:spLocks noGrp="1"/>
          </p:cNvSpPr>
          <p:nvPr>
            <p:ph type="dt" sz="half" idx="10"/>
          </p:nvPr>
        </p:nvSpPr>
        <p:spPr/>
        <p:txBody>
          <a:bodyPr/>
          <a:lstStyle/>
          <a:p>
            <a:fld id="{B5228511-F1C4-4C73-9866-F0276843F2AD}" type="datetimeFigureOut">
              <a:rPr lang="en-GB" smtClean="0"/>
              <a:t>01/08/2022</a:t>
            </a:fld>
            <a:endParaRPr lang="en-GB"/>
          </a:p>
        </p:txBody>
      </p:sp>
      <p:sp>
        <p:nvSpPr>
          <p:cNvPr id="3" name="Footer Placeholder 2">
            <a:extLst>
              <a:ext uri="{FF2B5EF4-FFF2-40B4-BE49-F238E27FC236}">
                <a16:creationId xmlns:a16="http://schemas.microsoft.com/office/drawing/2014/main" id="{56CD9017-3B3D-4BD2-93BC-A4AA942AC69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3A1C6EE6-9412-4AC7-A12D-8D039B269A7D}"/>
              </a:ext>
            </a:extLst>
          </p:cNvPr>
          <p:cNvSpPr>
            <a:spLocks noGrp="1"/>
          </p:cNvSpPr>
          <p:nvPr>
            <p:ph type="sldNum" sz="quarter" idx="12"/>
          </p:nvPr>
        </p:nvSpPr>
        <p:spPr/>
        <p:txBody>
          <a:bodyPr/>
          <a:lstStyle/>
          <a:p>
            <a:fld id="{E3705FFB-4B25-4B2E-AF54-F86368903E9A}" type="slidenum">
              <a:rPr lang="en-GB" smtClean="0"/>
              <a:t>‹#›</a:t>
            </a:fld>
            <a:endParaRPr lang="en-GB"/>
          </a:p>
        </p:txBody>
      </p:sp>
    </p:spTree>
    <p:extLst>
      <p:ext uri="{BB962C8B-B14F-4D97-AF65-F5344CB8AC3E}">
        <p14:creationId xmlns:p14="http://schemas.microsoft.com/office/powerpoint/2010/main" val="39015773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032F41-CFC5-4A9C-BFA9-0151AD0A7C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5341E6C-8398-4F4D-ADED-A3101D12EA2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8D46A9C-72DD-445A-9F72-AD9A49FD4B2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06C744-F2A3-42FE-B867-E98F2A01D0D5}"/>
              </a:ext>
            </a:extLst>
          </p:cNvPr>
          <p:cNvSpPr>
            <a:spLocks noGrp="1"/>
          </p:cNvSpPr>
          <p:nvPr>
            <p:ph type="dt" sz="half" idx="10"/>
          </p:nvPr>
        </p:nvSpPr>
        <p:spPr/>
        <p:txBody>
          <a:bodyPr/>
          <a:lstStyle/>
          <a:p>
            <a:fld id="{B5228511-F1C4-4C73-9866-F0276843F2AD}" type="datetimeFigureOut">
              <a:rPr lang="en-GB" smtClean="0"/>
              <a:t>01/08/2022</a:t>
            </a:fld>
            <a:endParaRPr lang="en-GB"/>
          </a:p>
        </p:txBody>
      </p:sp>
      <p:sp>
        <p:nvSpPr>
          <p:cNvPr id="6" name="Footer Placeholder 5">
            <a:extLst>
              <a:ext uri="{FF2B5EF4-FFF2-40B4-BE49-F238E27FC236}">
                <a16:creationId xmlns:a16="http://schemas.microsoft.com/office/drawing/2014/main" id="{A18B9A0A-F2F1-412D-880E-1859A567522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A052041-41CD-4388-A2B9-DE3FC697BA74}"/>
              </a:ext>
            </a:extLst>
          </p:cNvPr>
          <p:cNvSpPr>
            <a:spLocks noGrp="1"/>
          </p:cNvSpPr>
          <p:nvPr>
            <p:ph type="sldNum" sz="quarter" idx="12"/>
          </p:nvPr>
        </p:nvSpPr>
        <p:spPr/>
        <p:txBody>
          <a:bodyPr/>
          <a:lstStyle/>
          <a:p>
            <a:fld id="{E3705FFB-4B25-4B2E-AF54-F86368903E9A}" type="slidenum">
              <a:rPr lang="en-GB" smtClean="0"/>
              <a:t>‹#›</a:t>
            </a:fld>
            <a:endParaRPr lang="en-GB"/>
          </a:p>
        </p:txBody>
      </p:sp>
    </p:spTree>
    <p:extLst>
      <p:ext uri="{BB962C8B-B14F-4D97-AF65-F5344CB8AC3E}">
        <p14:creationId xmlns:p14="http://schemas.microsoft.com/office/powerpoint/2010/main" val="34993312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5B383F-3A89-4D75-ABC0-55ED329F0F2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A8319CC-F631-4FC0-8426-3F5301C9D0F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3BAF12F-1B56-47DD-AC01-508A2820413B}"/>
              </a:ext>
            </a:extLst>
          </p:cNvPr>
          <p:cNvSpPr>
            <a:spLocks noGrp="1"/>
          </p:cNvSpPr>
          <p:nvPr>
            <p:ph type="dt" sz="half" idx="10"/>
          </p:nvPr>
        </p:nvSpPr>
        <p:spPr/>
        <p:txBody>
          <a:bodyPr/>
          <a:lstStyle/>
          <a:p>
            <a:fld id="{2EFBDD21-3B9A-444C-B391-3A2426FE1562}" type="datetimeFigureOut">
              <a:rPr lang="en-GB" smtClean="0"/>
              <a:t>01/08/2022</a:t>
            </a:fld>
            <a:endParaRPr lang="en-GB"/>
          </a:p>
        </p:txBody>
      </p:sp>
      <p:sp>
        <p:nvSpPr>
          <p:cNvPr id="5" name="Footer Placeholder 4">
            <a:extLst>
              <a:ext uri="{FF2B5EF4-FFF2-40B4-BE49-F238E27FC236}">
                <a16:creationId xmlns:a16="http://schemas.microsoft.com/office/drawing/2014/main" id="{44A2069A-2D51-44FD-B622-D30987706F8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B5A3F22-919E-4C7F-8CEE-B7872CA5E372}"/>
              </a:ext>
            </a:extLst>
          </p:cNvPr>
          <p:cNvSpPr>
            <a:spLocks noGrp="1"/>
          </p:cNvSpPr>
          <p:nvPr>
            <p:ph type="sldNum" sz="quarter" idx="12"/>
          </p:nvPr>
        </p:nvSpPr>
        <p:spPr/>
        <p:txBody>
          <a:bodyPr/>
          <a:lstStyle/>
          <a:p>
            <a:fld id="{55B96285-05FD-4992-919D-63CEE9F74ED4}" type="slidenum">
              <a:rPr lang="en-GB" smtClean="0"/>
              <a:t>‹#›</a:t>
            </a:fld>
            <a:endParaRPr lang="en-GB"/>
          </a:p>
        </p:txBody>
      </p:sp>
    </p:spTree>
    <p:extLst>
      <p:ext uri="{BB962C8B-B14F-4D97-AF65-F5344CB8AC3E}">
        <p14:creationId xmlns:p14="http://schemas.microsoft.com/office/powerpoint/2010/main" val="7603980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91A0F6-1608-470A-87FB-4A40F2DDFDF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07BF5F79-73C7-4CFB-8B4A-0AD5AB813B9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AC128C64-1C33-4C24-A39B-3C211DF91BC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F17B765-AF0A-40F7-A3EB-1248BF7BEEEE}"/>
              </a:ext>
            </a:extLst>
          </p:cNvPr>
          <p:cNvSpPr>
            <a:spLocks noGrp="1"/>
          </p:cNvSpPr>
          <p:nvPr>
            <p:ph type="dt" sz="half" idx="10"/>
          </p:nvPr>
        </p:nvSpPr>
        <p:spPr/>
        <p:txBody>
          <a:bodyPr/>
          <a:lstStyle/>
          <a:p>
            <a:fld id="{B5228511-F1C4-4C73-9866-F0276843F2AD}" type="datetimeFigureOut">
              <a:rPr lang="en-GB" smtClean="0"/>
              <a:t>01/08/2022</a:t>
            </a:fld>
            <a:endParaRPr lang="en-GB"/>
          </a:p>
        </p:txBody>
      </p:sp>
      <p:sp>
        <p:nvSpPr>
          <p:cNvPr id="6" name="Footer Placeholder 5">
            <a:extLst>
              <a:ext uri="{FF2B5EF4-FFF2-40B4-BE49-F238E27FC236}">
                <a16:creationId xmlns:a16="http://schemas.microsoft.com/office/drawing/2014/main" id="{6505EC2C-47B7-45F4-B683-EA563BC88AC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EDFF0CA-CCA4-46DB-81C6-7B344E595567}"/>
              </a:ext>
            </a:extLst>
          </p:cNvPr>
          <p:cNvSpPr>
            <a:spLocks noGrp="1"/>
          </p:cNvSpPr>
          <p:nvPr>
            <p:ph type="sldNum" sz="quarter" idx="12"/>
          </p:nvPr>
        </p:nvSpPr>
        <p:spPr/>
        <p:txBody>
          <a:bodyPr/>
          <a:lstStyle/>
          <a:p>
            <a:fld id="{E3705FFB-4B25-4B2E-AF54-F86368903E9A}" type="slidenum">
              <a:rPr lang="en-GB" smtClean="0"/>
              <a:t>‹#›</a:t>
            </a:fld>
            <a:endParaRPr lang="en-GB"/>
          </a:p>
        </p:txBody>
      </p:sp>
    </p:spTree>
    <p:extLst>
      <p:ext uri="{BB962C8B-B14F-4D97-AF65-F5344CB8AC3E}">
        <p14:creationId xmlns:p14="http://schemas.microsoft.com/office/powerpoint/2010/main" val="7759017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DE268-FD30-46E0-B70C-AB955EB94D46}"/>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CBE75AC0-2F78-46FD-8B41-9F9DDFC89DA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B3EE899-B260-49AF-BBB0-F20BF3627D7B}"/>
              </a:ext>
            </a:extLst>
          </p:cNvPr>
          <p:cNvSpPr>
            <a:spLocks noGrp="1"/>
          </p:cNvSpPr>
          <p:nvPr>
            <p:ph type="dt" sz="half" idx="10"/>
          </p:nvPr>
        </p:nvSpPr>
        <p:spPr/>
        <p:txBody>
          <a:bodyPr/>
          <a:lstStyle/>
          <a:p>
            <a:fld id="{B5228511-F1C4-4C73-9866-F0276843F2AD}" type="datetimeFigureOut">
              <a:rPr lang="en-GB" smtClean="0"/>
              <a:t>01/08/2022</a:t>
            </a:fld>
            <a:endParaRPr lang="en-GB"/>
          </a:p>
        </p:txBody>
      </p:sp>
      <p:sp>
        <p:nvSpPr>
          <p:cNvPr id="5" name="Footer Placeholder 4">
            <a:extLst>
              <a:ext uri="{FF2B5EF4-FFF2-40B4-BE49-F238E27FC236}">
                <a16:creationId xmlns:a16="http://schemas.microsoft.com/office/drawing/2014/main" id="{472A61C2-AD20-42F1-971A-0B1FB9D39E2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DC8E5CC-BF43-4DFD-AB79-56D40E37D1FD}"/>
              </a:ext>
            </a:extLst>
          </p:cNvPr>
          <p:cNvSpPr>
            <a:spLocks noGrp="1"/>
          </p:cNvSpPr>
          <p:nvPr>
            <p:ph type="sldNum" sz="quarter" idx="12"/>
          </p:nvPr>
        </p:nvSpPr>
        <p:spPr/>
        <p:txBody>
          <a:bodyPr/>
          <a:lstStyle/>
          <a:p>
            <a:fld id="{E3705FFB-4B25-4B2E-AF54-F86368903E9A}" type="slidenum">
              <a:rPr lang="en-GB" smtClean="0"/>
              <a:t>‹#›</a:t>
            </a:fld>
            <a:endParaRPr lang="en-GB"/>
          </a:p>
        </p:txBody>
      </p:sp>
    </p:spTree>
    <p:extLst>
      <p:ext uri="{BB962C8B-B14F-4D97-AF65-F5344CB8AC3E}">
        <p14:creationId xmlns:p14="http://schemas.microsoft.com/office/powerpoint/2010/main" val="29543566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F390A1D-11F0-43CB-85F2-ED28AB616BA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EAFA81D-65BB-40BF-968C-F8BAD8D7757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D9FB8EF-D8C7-4963-ABA2-D8D292AE3F70}"/>
              </a:ext>
            </a:extLst>
          </p:cNvPr>
          <p:cNvSpPr>
            <a:spLocks noGrp="1"/>
          </p:cNvSpPr>
          <p:nvPr>
            <p:ph type="dt" sz="half" idx="10"/>
          </p:nvPr>
        </p:nvSpPr>
        <p:spPr/>
        <p:txBody>
          <a:bodyPr/>
          <a:lstStyle/>
          <a:p>
            <a:fld id="{B5228511-F1C4-4C73-9866-F0276843F2AD}" type="datetimeFigureOut">
              <a:rPr lang="en-GB" smtClean="0"/>
              <a:t>01/08/2022</a:t>
            </a:fld>
            <a:endParaRPr lang="en-GB"/>
          </a:p>
        </p:txBody>
      </p:sp>
      <p:sp>
        <p:nvSpPr>
          <p:cNvPr id="5" name="Footer Placeholder 4">
            <a:extLst>
              <a:ext uri="{FF2B5EF4-FFF2-40B4-BE49-F238E27FC236}">
                <a16:creationId xmlns:a16="http://schemas.microsoft.com/office/drawing/2014/main" id="{1F9E9784-0722-4BED-A906-3B07749DE10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ADAC2FD-7C6C-4446-9534-E62762DB09B6}"/>
              </a:ext>
            </a:extLst>
          </p:cNvPr>
          <p:cNvSpPr>
            <a:spLocks noGrp="1"/>
          </p:cNvSpPr>
          <p:nvPr>
            <p:ph type="sldNum" sz="quarter" idx="12"/>
          </p:nvPr>
        </p:nvSpPr>
        <p:spPr/>
        <p:txBody>
          <a:bodyPr/>
          <a:lstStyle/>
          <a:p>
            <a:fld id="{E3705FFB-4B25-4B2E-AF54-F86368903E9A}" type="slidenum">
              <a:rPr lang="en-GB" smtClean="0"/>
              <a:t>‹#›</a:t>
            </a:fld>
            <a:endParaRPr lang="en-GB"/>
          </a:p>
        </p:txBody>
      </p:sp>
    </p:spTree>
    <p:extLst>
      <p:ext uri="{BB962C8B-B14F-4D97-AF65-F5344CB8AC3E}">
        <p14:creationId xmlns:p14="http://schemas.microsoft.com/office/powerpoint/2010/main" val="29372871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97"/>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BB45DA19-3153-4C85-A95B-D831E9D17ED9}" type="datetimeFigureOut">
              <a:rPr lang="en-GB" smtClean="0"/>
              <a:t>01/08/2022</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B76A35DE-05B9-440F-9D3D-B070B0640952}" type="slidenum">
              <a:rPr lang="en-GB" smtClean="0"/>
              <a:t>‹#›</a:t>
            </a:fld>
            <a:endParaRPr lang="en-GB" dirty="0"/>
          </a:p>
        </p:txBody>
      </p:sp>
    </p:spTree>
    <p:extLst>
      <p:ext uri="{BB962C8B-B14F-4D97-AF65-F5344CB8AC3E}">
        <p14:creationId xmlns:p14="http://schemas.microsoft.com/office/powerpoint/2010/main" val="6698690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B45DA19-3153-4C85-A95B-D831E9D17ED9}" type="datetimeFigureOut">
              <a:rPr lang="en-GB" smtClean="0"/>
              <a:t>01/08/2022</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B76A35DE-05B9-440F-9D3D-B070B0640952}" type="slidenum">
              <a:rPr lang="en-GB" smtClean="0"/>
              <a:t>‹#›</a:t>
            </a:fld>
            <a:endParaRPr lang="en-GB" dirty="0"/>
          </a:p>
        </p:txBody>
      </p:sp>
    </p:spTree>
    <p:extLst>
      <p:ext uri="{BB962C8B-B14F-4D97-AF65-F5344CB8AC3E}">
        <p14:creationId xmlns:p14="http://schemas.microsoft.com/office/powerpoint/2010/main" val="7540051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26"/>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B45DA19-3153-4C85-A95B-D831E9D17ED9}" type="datetimeFigureOut">
              <a:rPr lang="en-GB" smtClean="0"/>
              <a:t>01/08/2022</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B76A35DE-05B9-440F-9D3D-B070B0640952}" type="slidenum">
              <a:rPr lang="en-GB" smtClean="0"/>
              <a:t>‹#›</a:t>
            </a:fld>
            <a:endParaRPr lang="en-GB" dirty="0"/>
          </a:p>
        </p:txBody>
      </p:sp>
    </p:spTree>
    <p:extLst>
      <p:ext uri="{BB962C8B-B14F-4D97-AF65-F5344CB8AC3E}">
        <p14:creationId xmlns:p14="http://schemas.microsoft.com/office/powerpoint/2010/main" val="13466555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BB45DA19-3153-4C85-A95B-D831E9D17ED9}" type="datetimeFigureOut">
              <a:rPr lang="en-GB" smtClean="0"/>
              <a:t>01/08/2022</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B76A35DE-05B9-440F-9D3D-B070B0640952}" type="slidenum">
              <a:rPr lang="en-GB" smtClean="0"/>
              <a:t>‹#›</a:t>
            </a:fld>
            <a:endParaRPr lang="en-GB" dirty="0"/>
          </a:p>
        </p:txBody>
      </p:sp>
    </p:spTree>
    <p:extLst>
      <p:ext uri="{BB962C8B-B14F-4D97-AF65-F5344CB8AC3E}">
        <p14:creationId xmlns:p14="http://schemas.microsoft.com/office/powerpoint/2010/main" val="6971254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4"/>
            <a:ext cx="5386917"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422" y="1535114"/>
            <a:ext cx="538903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422"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BB45DA19-3153-4C85-A95B-D831E9D17ED9}" type="datetimeFigureOut">
              <a:rPr lang="en-GB" smtClean="0"/>
              <a:t>01/08/2022</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B76A35DE-05B9-440F-9D3D-B070B0640952}" type="slidenum">
              <a:rPr lang="en-GB" smtClean="0"/>
              <a:t>‹#›</a:t>
            </a:fld>
            <a:endParaRPr lang="en-GB" dirty="0"/>
          </a:p>
        </p:txBody>
      </p:sp>
    </p:spTree>
    <p:extLst>
      <p:ext uri="{BB962C8B-B14F-4D97-AF65-F5344CB8AC3E}">
        <p14:creationId xmlns:p14="http://schemas.microsoft.com/office/powerpoint/2010/main" val="7516578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BB45DA19-3153-4C85-A95B-D831E9D17ED9}" type="datetimeFigureOut">
              <a:rPr lang="en-GB" smtClean="0"/>
              <a:t>01/08/2022</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B76A35DE-05B9-440F-9D3D-B070B0640952}" type="slidenum">
              <a:rPr lang="en-GB" smtClean="0"/>
              <a:t>‹#›</a:t>
            </a:fld>
            <a:endParaRPr lang="en-GB" dirty="0"/>
          </a:p>
        </p:txBody>
      </p:sp>
    </p:spTree>
    <p:extLst>
      <p:ext uri="{BB962C8B-B14F-4D97-AF65-F5344CB8AC3E}">
        <p14:creationId xmlns:p14="http://schemas.microsoft.com/office/powerpoint/2010/main" val="14459737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B45DA19-3153-4C85-A95B-D831E9D17ED9}" type="datetimeFigureOut">
              <a:rPr lang="en-GB" smtClean="0"/>
              <a:t>01/08/2022</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B76A35DE-05B9-440F-9D3D-B070B0640952}" type="slidenum">
              <a:rPr lang="en-GB" smtClean="0"/>
              <a:t>‹#›</a:t>
            </a:fld>
            <a:endParaRPr lang="en-GB" dirty="0"/>
          </a:p>
        </p:txBody>
      </p:sp>
    </p:spTree>
    <p:extLst>
      <p:ext uri="{BB962C8B-B14F-4D97-AF65-F5344CB8AC3E}">
        <p14:creationId xmlns:p14="http://schemas.microsoft.com/office/powerpoint/2010/main" val="20184116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1E799B-D866-4CDB-9948-B091702900F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B7ECFBA7-5877-40FF-83F7-798C2D2F95C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14E87E1-06E9-4232-BA05-78263CCA2B5F}"/>
              </a:ext>
            </a:extLst>
          </p:cNvPr>
          <p:cNvSpPr>
            <a:spLocks noGrp="1"/>
          </p:cNvSpPr>
          <p:nvPr>
            <p:ph type="dt" sz="half" idx="10"/>
          </p:nvPr>
        </p:nvSpPr>
        <p:spPr/>
        <p:txBody>
          <a:bodyPr/>
          <a:lstStyle/>
          <a:p>
            <a:fld id="{2EFBDD21-3B9A-444C-B391-3A2426FE1562}" type="datetimeFigureOut">
              <a:rPr lang="en-GB" smtClean="0"/>
              <a:t>01/08/2022</a:t>
            </a:fld>
            <a:endParaRPr lang="en-GB"/>
          </a:p>
        </p:txBody>
      </p:sp>
      <p:sp>
        <p:nvSpPr>
          <p:cNvPr id="5" name="Footer Placeholder 4">
            <a:extLst>
              <a:ext uri="{FF2B5EF4-FFF2-40B4-BE49-F238E27FC236}">
                <a16:creationId xmlns:a16="http://schemas.microsoft.com/office/drawing/2014/main" id="{3C2DE544-294C-4A5F-9DF0-364E8E54B57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3916EC7-3B70-4153-BB58-60001F4EDBE5}"/>
              </a:ext>
            </a:extLst>
          </p:cNvPr>
          <p:cNvSpPr>
            <a:spLocks noGrp="1"/>
          </p:cNvSpPr>
          <p:nvPr>
            <p:ph type="sldNum" sz="quarter" idx="12"/>
          </p:nvPr>
        </p:nvSpPr>
        <p:spPr/>
        <p:txBody>
          <a:bodyPr/>
          <a:lstStyle/>
          <a:p>
            <a:fld id="{55B96285-05FD-4992-919D-63CEE9F74ED4}" type="slidenum">
              <a:rPr lang="en-GB" smtClean="0"/>
              <a:t>‹#›</a:t>
            </a:fld>
            <a:endParaRPr lang="en-GB"/>
          </a:p>
        </p:txBody>
      </p:sp>
    </p:spTree>
    <p:extLst>
      <p:ext uri="{BB962C8B-B14F-4D97-AF65-F5344CB8AC3E}">
        <p14:creationId xmlns:p14="http://schemas.microsoft.com/office/powerpoint/2010/main" val="68538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26" y="273050"/>
            <a:ext cx="4011084" cy="1162051"/>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10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26" y="1435104"/>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B45DA19-3153-4C85-A95B-D831E9D17ED9}" type="datetimeFigureOut">
              <a:rPr lang="en-GB" smtClean="0"/>
              <a:t>01/08/2022</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B76A35DE-05B9-440F-9D3D-B070B0640952}" type="slidenum">
              <a:rPr lang="en-GB" smtClean="0"/>
              <a:t>‹#›</a:t>
            </a:fld>
            <a:endParaRPr lang="en-GB" dirty="0"/>
          </a:p>
        </p:txBody>
      </p:sp>
    </p:spTree>
    <p:extLst>
      <p:ext uri="{BB962C8B-B14F-4D97-AF65-F5344CB8AC3E}">
        <p14:creationId xmlns:p14="http://schemas.microsoft.com/office/powerpoint/2010/main" val="813540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2"/>
            <a:ext cx="7315200" cy="566739"/>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2389717" y="5367384"/>
            <a:ext cx="73152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B45DA19-3153-4C85-A95B-D831E9D17ED9}" type="datetimeFigureOut">
              <a:rPr lang="en-GB" smtClean="0"/>
              <a:t>01/08/2022</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B76A35DE-05B9-440F-9D3D-B070B0640952}" type="slidenum">
              <a:rPr lang="en-GB" smtClean="0"/>
              <a:t>‹#›</a:t>
            </a:fld>
            <a:endParaRPr lang="en-GB" dirty="0"/>
          </a:p>
        </p:txBody>
      </p:sp>
    </p:spTree>
    <p:extLst>
      <p:ext uri="{BB962C8B-B14F-4D97-AF65-F5344CB8AC3E}">
        <p14:creationId xmlns:p14="http://schemas.microsoft.com/office/powerpoint/2010/main" val="19560015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B45DA19-3153-4C85-A95B-D831E9D17ED9}" type="datetimeFigureOut">
              <a:rPr lang="en-GB" smtClean="0"/>
              <a:t>01/08/2022</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B76A35DE-05B9-440F-9D3D-B070B0640952}" type="slidenum">
              <a:rPr lang="en-GB" smtClean="0"/>
              <a:t>‹#›</a:t>
            </a:fld>
            <a:endParaRPr lang="en-GB" dirty="0"/>
          </a:p>
        </p:txBody>
      </p:sp>
    </p:spTree>
    <p:extLst>
      <p:ext uri="{BB962C8B-B14F-4D97-AF65-F5344CB8AC3E}">
        <p14:creationId xmlns:p14="http://schemas.microsoft.com/office/powerpoint/2010/main" val="9541955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5"/>
            <a:ext cx="27432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45"/>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B45DA19-3153-4C85-A95B-D831E9D17ED9}" type="datetimeFigureOut">
              <a:rPr lang="en-GB" smtClean="0"/>
              <a:t>01/08/2022</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B76A35DE-05B9-440F-9D3D-B070B0640952}" type="slidenum">
              <a:rPr lang="en-GB" smtClean="0"/>
              <a:t>‹#›</a:t>
            </a:fld>
            <a:endParaRPr lang="en-GB" dirty="0"/>
          </a:p>
        </p:txBody>
      </p:sp>
    </p:spTree>
    <p:extLst>
      <p:ext uri="{BB962C8B-B14F-4D97-AF65-F5344CB8AC3E}">
        <p14:creationId xmlns:p14="http://schemas.microsoft.com/office/powerpoint/2010/main" val="513014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567420" y="1290043"/>
            <a:ext cx="10316899" cy="5131559"/>
          </a:xfrm>
          <a:prstGeom prst="rect">
            <a:avLst/>
          </a:prstGeom>
        </p:spPr>
        <p:txBody>
          <a:bodyPr/>
          <a:lstStyle>
            <a:lvl1pPr>
              <a:defRPr sz="3200">
                <a:latin typeface="Arial" panose="020B0604020202020204" pitchFamily="34" charset="0"/>
                <a:cs typeface="Arial" panose="020B0604020202020204" pitchFamily="34" charset="0"/>
              </a:defRPr>
            </a:lvl1pPr>
            <a:lvl2pPr>
              <a:defRPr sz="3200">
                <a:latin typeface="Arial" panose="020B0604020202020204" pitchFamily="34" charset="0"/>
                <a:cs typeface="Arial" panose="020B0604020202020204" pitchFamily="34" charset="0"/>
              </a:defRPr>
            </a:lvl2pPr>
            <a:lvl3pPr>
              <a:defRPr sz="3200">
                <a:latin typeface="Arial" panose="020B0604020202020204" pitchFamily="34" charset="0"/>
                <a:cs typeface="Arial" panose="020B0604020202020204" pitchFamily="34" charset="0"/>
              </a:defRPr>
            </a:lvl3pPr>
            <a:lvl4pPr>
              <a:defRPr sz="3200">
                <a:latin typeface="Arial" panose="020B0604020202020204" pitchFamily="34" charset="0"/>
                <a:cs typeface="Arial" panose="020B0604020202020204" pitchFamily="34" charset="0"/>
              </a:defRPr>
            </a:lvl4pPr>
            <a:lvl5pPr>
              <a:defRPr sz="32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0"/>
          <p:cNvSpPr>
            <a:spLocks noGrp="1"/>
          </p:cNvSpPr>
          <p:nvPr>
            <p:ph type="title"/>
          </p:nvPr>
        </p:nvSpPr>
        <p:spPr>
          <a:xfrm>
            <a:off x="609600" y="261504"/>
            <a:ext cx="10744200" cy="611649"/>
          </a:xfrm>
          <a:prstGeom prst="rect">
            <a:avLst/>
          </a:prstGeom>
        </p:spPr>
        <p:txBody>
          <a:bodyPr/>
          <a:lstStyle>
            <a:lvl1pPr>
              <a:defRPr sz="4267" b="1">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3733" dirty="0">
              <a:solidFill>
                <a:srgbClr val="005EB8"/>
              </a:solidFill>
              <a:latin typeface="Arial" charset="0"/>
              <a:ea typeface="Arial" charset="0"/>
              <a:cs typeface="Arial" charset="0"/>
            </a:endParaRPr>
          </a:p>
        </p:txBody>
      </p:sp>
      <p:sp>
        <p:nvSpPr>
          <p:cNvPr id="8" name="TextBox 7"/>
          <p:cNvSpPr txBox="1"/>
          <p:nvPr userDrawn="1"/>
        </p:nvSpPr>
        <p:spPr>
          <a:xfrm>
            <a:off x="388419" y="6372551"/>
            <a:ext cx="863149" cy="338554"/>
          </a:xfrm>
          <a:prstGeom prst="rect">
            <a:avLst/>
          </a:prstGeom>
          <a:noFill/>
        </p:spPr>
        <p:txBody>
          <a:bodyPr wrap="square" rtlCol="0">
            <a:spAutoFit/>
          </a:bodyPr>
          <a:lstStyle/>
          <a:p>
            <a:pPr algn="l"/>
            <a:fld id="{34F92BC6-D7C3-584B-87F2-0B845776A5AD}" type="slidenum">
              <a:rPr lang="en-US" sz="16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600" dirty="0">
                <a:solidFill>
                  <a:schemeClr val="accent3">
                    <a:lumMod val="60000"/>
                    <a:lumOff val="40000"/>
                  </a:schemeClr>
                </a:solidFill>
                <a:latin typeface="Arial" panose="020B0604020202020204" pitchFamily="34" charset="0"/>
                <a:cs typeface="Arial" panose="020B0604020202020204" pitchFamily="34" charset="0"/>
              </a:rPr>
              <a:t> </a:t>
            </a:r>
            <a:r>
              <a:rPr lang="en-US" sz="1600" dirty="0">
                <a:solidFill>
                  <a:schemeClr val="accent3"/>
                </a:solidFill>
                <a:latin typeface="Arial" panose="020B0604020202020204" pitchFamily="34" charset="0"/>
                <a:cs typeface="Arial" panose="020B0604020202020204" pitchFamily="34" charset="0"/>
              </a:rPr>
              <a:t>  </a:t>
            </a:r>
            <a:r>
              <a:rPr lang="en-US" sz="1600" dirty="0">
                <a:solidFill>
                  <a:srgbClr val="005EB8"/>
                </a:solidFill>
                <a:latin typeface="Arial" panose="020B0604020202020204" pitchFamily="34" charset="0"/>
                <a:cs typeface="Arial" panose="020B0604020202020204" pitchFamily="34" charset="0"/>
              </a:rPr>
              <a:t>|</a:t>
            </a:r>
            <a:endParaRPr lang="en-US" sz="1600"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619769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BEC4EB-697C-42DC-864D-59749A74302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804FF65C-1BCD-4410-8CB0-467FDD0FF3DD}"/>
              </a:ext>
            </a:extLst>
          </p:cNvPr>
          <p:cNvSpPr>
            <a:spLocks noGrp="1"/>
          </p:cNvSpPr>
          <p:nvPr>
            <p:ph type="subTitle" idx="1"/>
          </p:nvPr>
        </p:nvSpPr>
        <p:spPr>
          <a:xfrm>
            <a:off x="1524000" y="3602037"/>
            <a:ext cx="9144000" cy="1655763"/>
          </a:xfrm>
        </p:spPr>
        <p:txBody>
          <a:bodyPr/>
          <a:lstStyle>
            <a:lvl1pPr marL="0" indent="0" algn="ctr">
              <a:buNone/>
              <a:defRPr sz="2400"/>
            </a:lvl1pPr>
            <a:lvl2pPr marL="456771" indent="0" algn="ctr">
              <a:buNone/>
              <a:defRPr sz="2000"/>
            </a:lvl2pPr>
            <a:lvl3pPr marL="913584" indent="0" algn="ctr">
              <a:buNone/>
              <a:defRPr sz="1900"/>
            </a:lvl3pPr>
            <a:lvl4pPr marL="1370376" indent="0" algn="ctr">
              <a:buNone/>
              <a:defRPr sz="1600"/>
            </a:lvl4pPr>
            <a:lvl5pPr marL="1827168" indent="0" algn="ctr">
              <a:buNone/>
              <a:defRPr sz="1600"/>
            </a:lvl5pPr>
            <a:lvl6pPr marL="2283982" indent="0" algn="ctr">
              <a:buNone/>
              <a:defRPr sz="1600"/>
            </a:lvl6pPr>
            <a:lvl7pPr marL="2740750" indent="0" algn="ctr">
              <a:buNone/>
              <a:defRPr sz="1600"/>
            </a:lvl7pPr>
            <a:lvl8pPr marL="3197520" indent="0" algn="ctr">
              <a:buNone/>
              <a:defRPr sz="1600"/>
            </a:lvl8pPr>
            <a:lvl9pPr marL="3654291"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C0CC08B-C8C6-400F-89B0-858551111B16}"/>
              </a:ext>
            </a:extLst>
          </p:cNvPr>
          <p:cNvSpPr>
            <a:spLocks noGrp="1"/>
          </p:cNvSpPr>
          <p:nvPr>
            <p:ph type="dt" sz="half" idx="10"/>
          </p:nvPr>
        </p:nvSpPr>
        <p:spPr/>
        <p:txBody>
          <a:bodyPr/>
          <a:lstStyle/>
          <a:p>
            <a:fld id="{BD62164E-7E37-4F72-A684-9FCF5A2AFB15}" type="datetimeFigureOut">
              <a:rPr lang="en-GB" smtClean="0"/>
              <a:t>01/08/2022</a:t>
            </a:fld>
            <a:endParaRPr lang="en-GB" dirty="0"/>
          </a:p>
        </p:txBody>
      </p:sp>
      <p:sp>
        <p:nvSpPr>
          <p:cNvPr id="5" name="Footer Placeholder 4">
            <a:extLst>
              <a:ext uri="{FF2B5EF4-FFF2-40B4-BE49-F238E27FC236}">
                <a16:creationId xmlns:a16="http://schemas.microsoft.com/office/drawing/2014/main" id="{92DDCE9A-DA78-45CB-B3EA-B01BE03A5A7B}"/>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55D75916-7B7F-4770-A71B-A62385526DE6}"/>
              </a:ext>
            </a:extLst>
          </p:cNvPr>
          <p:cNvSpPr>
            <a:spLocks noGrp="1"/>
          </p:cNvSpPr>
          <p:nvPr>
            <p:ph type="sldNum" sz="quarter" idx="12"/>
          </p:nvPr>
        </p:nvSpPr>
        <p:spPr/>
        <p:txBody>
          <a:bodyPr/>
          <a:lstStyle/>
          <a:p>
            <a:fld id="{BF8502C5-DB21-415A-BB6D-27467C06A32D}" type="slidenum">
              <a:rPr lang="en-GB" smtClean="0"/>
              <a:t>‹#›</a:t>
            </a:fld>
            <a:endParaRPr lang="en-GB" dirty="0"/>
          </a:p>
        </p:txBody>
      </p:sp>
    </p:spTree>
    <p:extLst>
      <p:ext uri="{BB962C8B-B14F-4D97-AF65-F5344CB8AC3E}">
        <p14:creationId xmlns:p14="http://schemas.microsoft.com/office/powerpoint/2010/main" val="1667789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106944-C160-4AA9-8965-CBFD562DF450}"/>
              </a:ext>
            </a:extLst>
          </p:cNvPr>
          <p:cNvSpPr>
            <a:spLocks noGrp="1"/>
          </p:cNvSpPr>
          <p:nvPr>
            <p:ph type="title"/>
          </p:nvPr>
        </p:nvSpPr>
        <p:spPr>
          <a:xfrm>
            <a:off x="156029" y="45813"/>
            <a:ext cx="10515600" cy="1325563"/>
          </a:xfrm>
        </p:spPr>
        <p:txBody>
          <a:bodyPr>
            <a:normAutofit/>
          </a:bodyPr>
          <a:lstStyle>
            <a:lvl1pPr>
              <a:defRPr sz="4000" b="1">
                <a:solidFill>
                  <a:schemeClr val="tx2"/>
                </a:solidFill>
                <a:latin typeface="+mn-lt"/>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955A0857-6A7A-4E81-9EB1-C5E8A710E91E}"/>
              </a:ext>
            </a:extLst>
          </p:cNvPr>
          <p:cNvSpPr>
            <a:spLocks noGrp="1"/>
          </p:cNvSpPr>
          <p:nvPr>
            <p:ph idx="1"/>
          </p:nvPr>
        </p:nvSpPr>
        <p:spPr>
          <a:xfrm>
            <a:off x="344715" y="1636941"/>
            <a:ext cx="10515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D3C9A74-B1F1-452F-9B35-3A215F56CF55}"/>
              </a:ext>
            </a:extLst>
          </p:cNvPr>
          <p:cNvSpPr>
            <a:spLocks noGrp="1"/>
          </p:cNvSpPr>
          <p:nvPr>
            <p:ph type="dt" sz="half" idx="10"/>
          </p:nvPr>
        </p:nvSpPr>
        <p:spPr/>
        <p:txBody>
          <a:bodyPr/>
          <a:lstStyle/>
          <a:p>
            <a:fld id="{BD62164E-7E37-4F72-A684-9FCF5A2AFB15}" type="datetimeFigureOut">
              <a:rPr lang="en-GB" smtClean="0"/>
              <a:t>01/08/2022</a:t>
            </a:fld>
            <a:endParaRPr lang="en-GB" dirty="0"/>
          </a:p>
        </p:txBody>
      </p:sp>
      <p:sp>
        <p:nvSpPr>
          <p:cNvPr id="5" name="Footer Placeholder 4">
            <a:extLst>
              <a:ext uri="{FF2B5EF4-FFF2-40B4-BE49-F238E27FC236}">
                <a16:creationId xmlns:a16="http://schemas.microsoft.com/office/drawing/2014/main" id="{DDB1714B-8D64-4AD8-998B-CD5F57A5421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C4BD4D33-526A-4FE1-911C-8566F675B50B}"/>
              </a:ext>
            </a:extLst>
          </p:cNvPr>
          <p:cNvSpPr>
            <a:spLocks noGrp="1"/>
          </p:cNvSpPr>
          <p:nvPr>
            <p:ph type="sldNum" sz="quarter" idx="12"/>
          </p:nvPr>
        </p:nvSpPr>
        <p:spPr/>
        <p:txBody>
          <a:bodyPr/>
          <a:lstStyle/>
          <a:p>
            <a:fld id="{BF8502C5-DB21-415A-BB6D-27467C06A32D}" type="slidenum">
              <a:rPr lang="en-GB" smtClean="0"/>
              <a:t>‹#›</a:t>
            </a:fld>
            <a:endParaRPr lang="en-GB" dirty="0"/>
          </a:p>
        </p:txBody>
      </p:sp>
    </p:spTree>
    <p:extLst>
      <p:ext uri="{BB962C8B-B14F-4D97-AF65-F5344CB8AC3E}">
        <p14:creationId xmlns:p14="http://schemas.microsoft.com/office/powerpoint/2010/main" val="26505677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1313E-7068-42F1-AB41-AC470618C69A}"/>
              </a:ext>
            </a:extLst>
          </p:cNvPr>
          <p:cNvSpPr>
            <a:spLocks noGrp="1"/>
          </p:cNvSpPr>
          <p:nvPr>
            <p:ph type="title"/>
          </p:nvPr>
        </p:nvSpPr>
        <p:spPr>
          <a:xfrm>
            <a:off x="831851" y="1709786"/>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19F908C5-9DBC-4EA4-AFF1-0B6A7C72E370}"/>
              </a:ext>
            </a:extLst>
          </p:cNvPr>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6771" indent="0">
              <a:buNone/>
              <a:defRPr sz="2000">
                <a:solidFill>
                  <a:schemeClr val="tx1">
                    <a:tint val="75000"/>
                  </a:schemeClr>
                </a:solidFill>
              </a:defRPr>
            </a:lvl2pPr>
            <a:lvl3pPr marL="913584" indent="0">
              <a:buNone/>
              <a:defRPr sz="1900">
                <a:solidFill>
                  <a:schemeClr val="tx1">
                    <a:tint val="75000"/>
                  </a:schemeClr>
                </a:solidFill>
              </a:defRPr>
            </a:lvl3pPr>
            <a:lvl4pPr marL="1370376" indent="0">
              <a:buNone/>
              <a:defRPr sz="1600">
                <a:solidFill>
                  <a:schemeClr val="tx1">
                    <a:tint val="75000"/>
                  </a:schemeClr>
                </a:solidFill>
              </a:defRPr>
            </a:lvl4pPr>
            <a:lvl5pPr marL="1827168" indent="0">
              <a:buNone/>
              <a:defRPr sz="1600">
                <a:solidFill>
                  <a:schemeClr val="tx1">
                    <a:tint val="75000"/>
                  </a:schemeClr>
                </a:solidFill>
              </a:defRPr>
            </a:lvl5pPr>
            <a:lvl6pPr marL="2283982" indent="0">
              <a:buNone/>
              <a:defRPr sz="1600">
                <a:solidFill>
                  <a:schemeClr val="tx1">
                    <a:tint val="75000"/>
                  </a:schemeClr>
                </a:solidFill>
              </a:defRPr>
            </a:lvl6pPr>
            <a:lvl7pPr marL="2740750" indent="0">
              <a:buNone/>
              <a:defRPr sz="1600">
                <a:solidFill>
                  <a:schemeClr val="tx1">
                    <a:tint val="75000"/>
                  </a:schemeClr>
                </a:solidFill>
              </a:defRPr>
            </a:lvl7pPr>
            <a:lvl8pPr marL="3197520" indent="0">
              <a:buNone/>
              <a:defRPr sz="1600">
                <a:solidFill>
                  <a:schemeClr val="tx1">
                    <a:tint val="75000"/>
                  </a:schemeClr>
                </a:solidFill>
              </a:defRPr>
            </a:lvl8pPr>
            <a:lvl9pPr marL="3654291"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D45D68A5-E548-4687-B32A-B19AC2B647D0}"/>
              </a:ext>
            </a:extLst>
          </p:cNvPr>
          <p:cNvSpPr>
            <a:spLocks noGrp="1"/>
          </p:cNvSpPr>
          <p:nvPr>
            <p:ph type="dt" sz="half" idx="10"/>
          </p:nvPr>
        </p:nvSpPr>
        <p:spPr/>
        <p:txBody>
          <a:bodyPr/>
          <a:lstStyle/>
          <a:p>
            <a:fld id="{BD62164E-7E37-4F72-A684-9FCF5A2AFB15}" type="datetimeFigureOut">
              <a:rPr lang="en-GB" smtClean="0"/>
              <a:t>01/08/2022</a:t>
            </a:fld>
            <a:endParaRPr lang="en-GB" dirty="0"/>
          </a:p>
        </p:txBody>
      </p:sp>
      <p:sp>
        <p:nvSpPr>
          <p:cNvPr id="5" name="Footer Placeholder 4">
            <a:extLst>
              <a:ext uri="{FF2B5EF4-FFF2-40B4-BE49-F238E27FC236}">
                <a16:creationId xmlns:a16="http://schemas.microsoft.com/office/drawing/2014/main" id="{FCF06535-13E9-4AD6-91B0-2388BD669807}"/>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EF7760D2-3426-4A64-8810-031CF3C57B66}"/>
              </a:ext>
            </a:extLst>
          </p:cNvPr>
          <p:cNvSpPr>
            <a:spLocks noGrp="1"/>
          </p:cNvSpPr>
          <p:nvPr>
            <p:ph type="sldNum" sz="quarter" idx="12"/>
          </p:nvPr>
        </p:nvSpPr>
        <p:spPr/>
        <p:txBody>
          <a:bodyPr/>
          <a:lstStyle/>
          <a:p>
            <a:fld id="{BF8502C5-DB21-415A-BB6D-27467C06A32D}" type="slidenum">
              <a:rPr lang="en-GB" smtClean="0"/>
              <a:t>‹#›</a:t>
            </a:fld>
            <a:endParaRPr lang="en-GB" dirty="0"/>
          </a:p>
        </p:txBody>
      </p:sp>
    </p:spTree>
    <p:extLst>
      <p:ext uri="{BB962C8B-B14F-4D97-AF65-F5344CB8AC3E}">
        <p14:creationId xmlns:p14="http://schemas.microsoft.com/office/powerpoint/2010/main" val="21088622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CB14D-14EF-482C-A28D-2A56BBD8BC4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F117FF30-ACED-4324-BAB5-A9F95A4F6647}"/>
              </a:ext>
            </a:extLst>
          </p:cNvPr>
          <p:cNvSpPr>
            <a:spLocks noGrp="1"/>
          </p:cNvSpPr>
          <p:nvPr>
            <p:ph sz="half" idx="1"/>
          </p:nvPr>
        </p:nvSpPr>
        <p:spPr>
          <a:xfrm>
            <a:off x="838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5EC672E-E283-47C8-AE70-63CDEE4DF438}"/>
              </a:ext>
            </a:extLst>
          </p:cNvPr>
          <p:cNvSpPr>
            <a:spLocks noGrp="1"/>
          </p:cNvSpPr>
          <p:nvPr>
            <p:ph sz="half" idx="2"/>
          </p:nvPr>
        </p:nvSpPr>
        <p:spPr>
          <a:xfrm>
            <a:off x="6172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F867F64E-5FD6-4251-B109-A679211E5112}"/>
              </a:ext>
            </a:extLst>
          </p:cNvPr>
          <p:cNvSpPr>
            <a:spLocks noGrp="1"/>
          </p:cNvSpPr>
          <p:nvPr>
            <p:ph type="dt" sz="half" idx="10"/>
          </p:nvPr>
        </p:nvSpPr>
        <p:spPr/>
        <p:txBody>
          <a:bodyPr/>
          <a:lstStyle/>
          <a:p>
            <a:fld id="{BD62164E-7E37-4F72-A684-9FCF5A2AFB15}" type="datetimeFigureOut">
              <a:rPr lang="en-GB" smtClean="0"/>
              <a:t>01/08/2022</a:t>
            </a:fld>
            <a:endParaRPr lang="en-GB" dirty="0"/>
          </a:p>
        </p:txBody>
      </p:sp>
      <p:sp>
        <p:nvSpPr>
          <p:cNvPr id="6" name="Footer Placeholder 5">
            <a:extLst>
              <a:ext uri="{FF2B5EF4-FFF2-40B4-BE49-F238E27FC236}">
                <a16:creationId xmlns:a16="http://schemas.microsoft.com/office/drawing/2014/main" id="{9FB5ED3A-7459-4035-AA80-2A91CFCF1311}"/>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86227E17-4C98-4BD9-8742-D8D01A42BCBF}"/>
              </a:ext>
            </a:extLst>
          </p:cNvPr>
          <p:cNvSpPr>
            <a:spLocks noGrp="1"/>
          </p:cNvSpPr>
          <p:nvPr>
            <p:ph type="sldNum" sz="quarter" idx="12"/>
          </p:nvPr>
        </p:nvSpPr>
        <p:spPr/>
        <p:txBody>
          <a:bodyPr/>
          <a:lstStyle/>
          <a:p>
            <a:fld id="{BF8502C5-DB21-415A-BB6D-27467C06A32D}" type="slidenum">
              <a:rPr lang="en-GB" smtClean="0"/>
              <a:t>‹#›</a:t>
            </a:fld>
            <a:endParaRPr lang="en-GB" dirty="0"/>
          </a:p>
        </p:txBody>
      </p:sp>
    </p:spTree>
    <p:extLst>
      <p:ext uri="{BB962C8B-B14F-4D97-AF65-F5344CB8AC3E}">
        <p14:creationId xmlns:p14="http://schemas.microsoft.com/office/powerpoint/2010/main" val="31392517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41BAD4-151D-4F46-B808-ECF5AC0253CF}"/>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5ECC335-24ED-421A-9126-A5204DD663CF}"/>
              </a:ext>
            </a:extLst>
          </p:cNvPr>
          <p:cNvSpPr>
            <a:spLocks noGrp="1"/>
          </p:cNvSpPr>
          <p:nvPr>
            <p:ph type="body" idx="1"/>
          </p:nvPr>
        </p:nvSpPr>
        <p:spPr>
          <a:xfrm>
            <a:off x="839789" y="1681163"/>
            <a:ext cx="5157787" cy="823912"/>
          </a:xfrm>
        </p:spPr>
        <p:txBody>
          <a:bodyPr anchor="b"/>
          <a:lstStyle>
            <a:lvl1pPr marL="0" indent="0">
              <a:buNone/>
              <a:defRPr sz="2400" b="1"/>
            </a:lvl1pPr>
            <a:lvl2pPr marL="456771" indent="0">
              <a:buNone/>
              <a:defRPr sz="2000" b="1"/>
            </a:lvl2pPr>
            <a:lvl3pPr marL="913584" indent="0">
              <a:buNone/>
              <a:defRPr sz="1900" b="1"/>
            </a:lvl3pPr>
            <a:lvl4pPr marL="1370376" indent="0">
              <a:buNone/>
              <a:defRPr sz="1600" b="1"/>
            </a:lvl4pPr>
            <a:lvl5pPr marL="1827168" indent="0">
              <a:buNone/>
              <a:defRPr sz="1600" b="1"/>
            </a:lvl5pPr>
            <a:lvl6pPr marL="2283982" indent="0">
              <a:buNone/>
              <a:defRPr sz="1600" b="1"/>
            </a:lvl6pPr>
            <a:lvl7pPr marL="2740750" indent="0">
              <a:buNone/>
              <a:defRPr sz="1600" b="1"/>
            </a:lvl7pPr>
            <a:lvl8pPr marL="3197520" indent="0">
              <a:buNone/>
              <a:defRPr sz="1600" b="1"/>
            </a:lvl8pPr>
            <a:lvl9pPr marL="3654291"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FB4EF62-4D6C-40F0-BFE7-96D2031CCF71}"/>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886715F5-4930-4C14-BA8D-67D4A62E8427}"/>
              </a:ext>
            </a:extLst>
          </p:cNvPr>
          <p:cNvSpPr>
            <a:spLocks noGrp="1"/>
          </p:cNvSpPr>
          <p:nvPr>
            <p:ph type="body" sz="quarter" idx="3"/>
          </p:nvPr>
        </p:nvSpPr>
        <p:spPr>
          <a:xfrm>
            <a:off x="6172203" y="1681163"/>
            <a:ext cx="5183188" cy="823912"/>
          </a:xfrm>
        </p:spPr>
        <p:txBody>
          <a:bodyPr anchor="b"/>
          <a:lstStyle>
            <a:lvl1pPr marL="0" indent="0">
              <a:buNone/>
              <a:defRPr sz="2400" b="1"/>
            </a:lvl1pPr>
            <a:lvl2pPr marL="456771" indent="0">
              <a:buNone/>
              <a:defRPr sz="2000" b="1"/>
            </a:lvl2pPr>
            <a:lvl3pPr marL="913584" indent="0">
              <a:buNone/>
              <a:defRPr sz="1900" b="1"/>
            </a:lvl3pPr>
            <a:lvl4pPr marL="1370376" indent="0">
              <a:buNone/>
              <a:defRPr sz="1600" b="1"/>
            </a:lvl4pPr>
            <a:lvl5pPr marL="1827168" indent="0">
              <a:buNone/>
              <a:defRPr sz="1600" b="1"/>
            </a:lvl5pPr>
            <a:lvl6pPr marL="2283982" indent="0">
              <a:buNone/>
              <a:defRPr sz="1600" b="1"/>
            </a:lvl6pPr>
            <a:lvl7pPr marL="2740750" indent="0">
              <a:buNone/>
              <a:defRPr sz="1600" b="1"/>
            </a:lvl7pPr>
            <a:lvl8pPr marL="3197520" indent="0">
              <a:buNone/>
              <a:defRPr sz="1600" b="1"/>
            </a:lvl8pPr>
            <a:lvl9pPr marL="3654291"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53A2C501-3DC0-47B0-BBDB-F428FCBFCBE8}"/>
              </a:ext>
            </a:extLst>
          </p:cNvPr>
          <p:cNvSpPr>
            <a:spLocks noGrp="1"/>
          </p:cNvSpPr>
          <p:nvPr>
            <p:ph sz="quarter" idx="4"/>
          </p:nvPr>
        </p:nvSpPr>
        <p:spPr>
          <a:xfrm>
            <a:off x="6172203"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0E1C43B-C7B7-4634-BA82-2F6F22E6EE72}"/>
              </a:ext>
            </a:extLst>
          </p:cNvPr>
          <p:cNvSpPr>
            <a:spLocks noGrp="1"/>
          </p:cNvSpPr>
          <p:nvPr>
            <p:ph type="dt" sz="half" idx="10"/>
          </p:nvPr>
        </p:nvSpPr>
        <p:spPr/>
        <p:txBody>
          <a:bodyPr/>
          <a:lstStyle/>
          <a:p>
            <a:fld id="{BD62164E-7E37-4F72-A684-9FCF5A2AFB15}" type="datetimeFigureOut">
              <a:rPr lang="en-GB" smtClean="0"/>
              <a:t>01/08/2022</a:t>
            </a:fld>
            <a:endParaRPr lang="en-GB" dirty="0"/>
          </a:p>
        </p:txBody>
      </p:sp>
      <p:sp>
        <p:nvSpPr>
          <p:cNvPr id="8" name="Footer Placeholder 7">
            <a:extLst>
              <a:ext uri="{FF2B5EF4-FFF2-40B4-BE49-F238E27FC236}">
                <a16:creationId xmlns:a16="http://schemas.microsoft.com/office/drawing/2014/main" id="{C75AFEA2-3807-4DB8-97EF-53C8B41C7A73}"/>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E69B73DF-A6DD-40CC-83AC-32C6276865E5}"/>
              </a:ext>
            </a:extLst>
          </p:cNvPr>
          <p:cNvSpPr>
            <a:spLocks noGrp="1"/>
          </p:cNvSpPr>
          <p:nvPr>
            <p:ph type="sldNum" sz="quarter" idx="12"/>
          </p:nvPr>
        </p:nvSpPr>
        <p:spPr/>
        <p:txBody>
          <a:bodyPr/>
          <a:lstStyle/>
          <a:p>
            <a:fld id="{BF8502C5-DB21-415A-BB6D-27467C06A32D}" type="slidenum">
              <a:rPr lang="en-GB" smtClean="0"/>
              <a:t>‹#›</a:t>
            </a:fld>
            <a:endParaRPr lang="en-GB" dirty="0"/>
          </a:p>
        </p:txBody>
      </p:sp>
    </p:spTree>
    <p:extLst>
      <p:ext uri="{BB962C8B-B14F-4D97-AF65-F5344CB8AC3E}">
        <p14:creationId xmlns:p14="http://schemas.microsoft.com/office/powerpoint/2010/main" val="2340152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AC968-9662-461B-8692-95E815A7FF3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0D0C34F-F5F3-47D4-AA08-827D076902D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D6800C1-AE2C-4EA4-9DEE-AFE67319B05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35CEF99-AFBE-416D-913A-BACC5EB75AF5}"/>
              </a:ext>
            </a:extLst>
          </p:cNvPr>
          <p:cNvSpPr>
            <a:spLocks noGrp="1"/>
          </p:cNvSpPr>
          <p:nvPr>
            <p:ph type="dt" sz="half" idx="10"/>
          </p:nvPr>
        </p:nvSpPr>
        <p:spPr/>
        <p:txBody>
          <a:bodyPr/>
          <a:lstStyle/>
          <a:p>
            <a:fld id="{2EFBDD21-3B9A-444C-B391-3A2426FE1562}" type="datetimeFigureOut">
              <a:rPr lang="en-GB" smtClean="0"/>
              <a:t>01/08/2022</a:t>
            </a:fld>
            <a:endParaRPr lang="en-GB"/>
          </a:p>
        </p:txBody>
      </p:sp>
      <p:sp>
        <p:nvSpPr>
          <p:cNvPr id="6" name="Footer Placeholder 5">
            <a:extLst>
              <a:ext uri="{FF2B5EF4-FFF2-40B4-BE49-F238E27FC236}">
                <a16:creationId xmlns:a16="http://schemas.microsoft.com/office/drawing/2014/main" id="{D2B82E0A-0DE8-4E96-96D8-F047DC0ED60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0AAD29D-228C-422C-BC96-AA36A71283B4}"/>
              </a:ext>
            </a:extLst>
          </p:cNvPr>
          <p:cNvSpPr>
            <a:spLocks noGrp="1"/>
          </p:cNvSpPr>
          <p:nvPr>
            <p:ph type="sldNum" sz="quarter" idx="12"/>
          </p:nvPr>
        </p:nvSpPr>
        <p:spPr/>
        <p:txBody>
          <a:bodyPr/>
          <a:lstStyle/>
          <a:p>
            <a:fld id="{55B96285-05FD-4992-919D-63CEE9F74ED4}" type="slidenum">
              <a:rPr lang="en-GB" smtClean="0"/>
              <a:t>‹#›</a:t>
            </a:fld>
            <a:endParaRPr lang="en-GB"/>
          </a:p>
        </p:txBody>
      </p:sp>
    </p:spTree>
    <p:extLst>
      <p:ext uri="{BB962C8B-B14F-4D97-AF65-F5344CB8AC3E}">
        <p14:creationId xmlns:p14="http://schemas.microsoft.com/office/powerpoint/2010/main" val="35975932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F6CE-015F-4682-90B0-8725BB03DA75}"/>
              </a:ext>
            </a:extLst>
          </p:cNvPr>
          <p:cNvSpPr>
            <a:spLocks noGrp="1"/>
          </p:cNvSpPr>
          <p:nvPr>
            <p:ph type="title"/>
          </p:nvPr>
        </p:nvSpPr>
        <p:spPr>
          <a:xfrm>
            <a:off x="185059" y="176441"/>
            <a:ext cx="10515600" cy="1325563"/>
          </a:xfrm>
        </p:spPr>
        <p:txBody>
          <a:bodyPr>
            <a:normAutofit/>
          </a:bodyPr>
          <a:lstStyle>
            <a:lvl1pPr>
              <a:defRPr sz="4000" b="1">
                <a:solidFill>
                  <a:schemeClr val="tx2"/>
                </a:solidFill>
                <a:latin typeface="+mn-lt"/>
              </a:defRPr>
            </a:lvl1pPr>
          </a:lstStyle>
          <a:p>
            <a:r>
              <a:rPr lang="en-US" dirty="0"/>
              <a:t>Click to edit Master title style</a:t>
            </a:r>
            <a:endParaRPr lang="en-GB" dirty="0"/>
          </a:p>
        </p:txBody>
      </p:sp>
      <p:sp>
        <p:nvSpPr>
          <p:cNvPr id="3" name="Date Placeholder 2">
            <a:extLst>
              <a:ext uri="{FF2B5EF4-FFF2-40B4-BE49-F238E27FC236}">
                <a16:creationId xmlns:a16="http://schemas.microsoft.com/office/drawing/2014/main" id="{F487C5F2-7A57-4407-A129-E465D622CE5C}"/>
              </a:ext>
            </a:extLst>
          </p:cNvPr>
          <p:cNvSpPr>
            <a:spLocks noGrp="1"/>
          </p:cNvSpPr>
          <p:nvPr>
            <p:ph type="dt" sz="half" idx="10"/>
          </p:nvPr>
        </p:nvSpPr>
        <p:spPr/>
        <p:txBody>
          <a:bodyPr/>
          <a:lstStyle/>
          <a:p>
            <a:fld id="{BD62164E-7E37-4F72-A684-9FCF5A2AFB15}" type="datetimeFigureOut">
              <a:rPr lang="en-GB" smtClean="0"/>
              <a:t>01/08/2022</a:t>
            </a:fld>
            <a:endParaRPr lang="en-GB" dirty="0"/>
          </a:p>
        </p:txBody>
      </p:sp>
      <p:sp>
        <p:nvSpPr>
          <p:cNvPr id="4" name="Footer Placeholder 3">
            <a:extLst>
              <a:ext uri="{FF2B5EF4-FFF2-40B4-BE49-F238E27FC236}">
                <a16:creationId xmlns:a16="http://schemas.microsoft.com/office/drawing/2014/main" id="{91746FB7-4E34-41EA-A5DF-B714479164D2}"/>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8F0707D5-1B08-49B0-8A72-FD2E8F09A038}"/>
              </a:ext>
            </a:extLst>
          </p:cNvPr>
          <p:cNvSpPr>
            <a:spLocks noGrp="1"/>
          </p:cNvSpPr>
          <p:nvPr>
            <p:ph type="sldNum" sz="quarter" idx="12"/>
          </p:nvPr>
        </p:nvSpPr>
        <p:spPr/>
        <p:txBody>
          <a:bodyPr/>
          <a:lstStyle/>
          <a:p>
            <a:fld id="{BF8502C5-DB21-415A-BB6D-27467C06A32D}" type="slidenum">
              <a:rPr lang="en-GB" smtClean="0"/>
              <a:t>‹#›</a:t>
            </a:fld>
            <a:endParaRPr lang="en-GB" dirty="0"/>
          </a:p>
        </p:txBody>
      </p:sp>
    </p:spTree>
    <p:extLst>
      <p:ext uri="{BB962C8B-B14F-4D97-AF65-F5344CB8AC3E}">
        <p14:creationId xmlns:p14="http://schemas.microsoft.com/office/powerpoint/2010/main" val="13409296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87A694-FAB0-4B62-A5A5-9F43628BBCB5}"/>
              </a:ext>
            </a:extLst>
          </p:cNvPr>
          <p:cNvSpPr>
            <a:spLocks noGrp="1"/>
          </p:cNvSpPr>
          <p:nvPr>
            <p:ph type="dt" sz="half" idx="10"/>
          </p:nvPr>
        </p:nvSpPr>
        <p:spPr/>
        <p:txBody>
          <a:bodyPr/>
          <a:lstStyle/>
          <a:p>
            <a:fld id="{BD62164E-7E37-4F72-A684-9FCF5A2AFB15}" type="datetimeFigureOut">
              <a:rPr lang="en-GB" smtClean="0"/>
              <a:t>01/08/2022</a:t>
            </a:fld>
            <a:endParaRPr lang="en-GB" dirty="0"/>
          </a:p>
        </p:txBody>
      </p:sp>
      <p:sp>
        <p:nvSpPr>
          <p:cNvPr id="3" name="Footer Placeholder 2">
            <a:extLst>
              <a:ext uri="{FF2B5EF4-FFF2-40B4-BE49-F238E27FC236}">
                <a16:creationId xmlns:a16="http://schemas.microsoft.com/office/drawing/2014/main" id="{0262EBCE-44FA-4589-A193-443CF3D5425C}"/>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427DDA53-9FB7-4C28-9220-C232CB896FC2}"/>
              </a:ext>
            </a:extLst>
          </p:cNvPr>
          <p:cNvSpPr>
            <a:spLocks noGrp="1"/>
          </p:cNvSpPr>
          <p:nvPr>
            <p:ph type="sldNum" sz="quarter" idx="12"/>
          </p:nvPr>
        </p:nvSpPr>
        <p:spPr/>
        <p:txBody>
          <a:bodyPr/>
          <a:lstStyle/>
          <a:p>
            <a:fld id="{BF8502C5-DB21-415A-BB6D-27467C06A32D}" type="slidenum">
              <a:rPr lang="en-GB" smtClean="0"/>
              <a:t>‹#›</a:t>
            </a:fld>
            <a:endParaRPr lang="en-GB" dirty="0"/>
          </a:p>
        </p:txBody>
      </p:sp>
    </p:spTree>
    <p:extLst>
      <p:ext uri="{BB962C8B-B14F-4D97-AF65-F5344CB8AC3E}">
        <p14:creationId xmlns:p14="http://schemas.microsoft.com/office/powerpoint/2010/main" val="20351409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69EB61-47DE-430C-B1CC-F57C84EC5E4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59701E05-07FD-4D08-9FEC-80F431B5746C}"/>
              </a:ext>
            </a:extLst>
          </p:cNvPr>
          <p:cNvSpPr>
            <a:spLocks noGrp="1"/>
          </p:cNvSpPr>
          <p:nvPr>
            <p:ph idx="1"/>
          </p:nvPr>
        </p:nvSpPr>
        <p:spPr>
          <a:xfrm>
            <a:off x="5183188" y="987473"/>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CC71A2A-D889-4201-A832-38D3A427E398}"/>
              </a:ext>
            </a:extLst>
          </p:cNvPr>
          <p:cNvSpPr>
            <a:spLocks noGrp="1"/>
          </p:cNvSpPr>
          <p:nvPr>
            <p:ph type="body" sz="half" idx="2"/>
          </p:nvPr>
        </p:nvSpPr>
        <p:spPr>
          <a:xfrm>
            <a:off x="839788" y="2057403"/>
            <a:ext cx="3932237" cy="3811588"/>
          </a:xfrm>
        </p:spPr>
        <p:txBody>
          <a:bodyPr/>
          <a:lstStyle>
            <a:lvl1pPr marL="0" indent="0">
              <a:buNone/>
              <a:defRPr sz="1600"/>
            </a:lvl1pPr>
            <a:lvl2pPr marL="456771" indent="0">
              <a:buNone/>
              <a:defRPr sz="1500"/>
            </a:lvl2pPr>
            <a:lvl3pPr marL="913584" indent="0">
              <a:buNone/>
              <a:defRPr sz="1200"/>
            </a:lvl3pPr>
            <a:lvl4pPr marL="1370376" indent="0">
              <a:buNone/>
              <a:defRPr sz="1100"/>
            </a:lvl4pPr>
            <a:lvl5pPr marL="1827168" indent="0">
              <a:buNone/>
              <a:defRPr sz="1100"/>
            </a:lvl5pPr>
            <a:lvl6pPr marL="2283982" indent="0">
              <a:buNone/>
              <a:defRPr sz="1100"/>
            </a:lvl6pPr>
            <a:lvl7pPr marL="2740750" indent="0">
              <a:buNone/>
              <a:defRPr sz="1100"/>
            </a:lvl7pPr>
            <a:lvl8pPr marL="3197520" indent="0">
              <a:buNone/>
              <a:defRPr sz="1100"/>
            </a:lvl8pPr>
            <a:lvl9pPr marL="3654291" indent="0">
              <a:buNone/>
              <a:defRPr sz="1100"/>
            </a:lvl9pPr>
          </a:lstStyle>
          <a:p>
            <a:pPr lvl="0"/>
            <a:r>
              <a:rPr lang="en-US"/>
              <a:t>Edit Master text styles</a:t>
            </a:r>
          </a:p>
        </p:txBody>
      </p:sp>
      <p:sp>
        <p:nvSpPr>
          <p:cNvPr id="5" name="Date Placeholder 4">
            <a:extLst>
              <a:ext uri="{FF2B5EF4-FFF2-40B4-BE49-F238E27FC236}">
                <a16:creationId xmlns:a16="http://schemas.microsoft.com/office/drawing/2014/main" id="{E9E5BDC5-E6BE-48DB-A8D7-1019B12B7A7D}"/>
              </a:ext>
            </a:extLst>
          </p:cNvPr>
          <p:cNvSpPr>
            <a:spLocks noGrp="1"/>
          </p:cNvSpPr>
          <p:nvPr>
            <p:ph type="dt" sz="half" idx="10"/>
          </p:nvPr>
        </p:nvSpPr>
        <p:spPr/>
        <p:txBody>
          <a:bodyPr/>
          <a:lstStyle/>
          <a:p>
            <a:fld id="{BD62164E-7E37-4F72-A684-9FCF5A2AFB15}" type="datetimeFigureOut">
              <a:rPr lang="en-GB" smtClean="0"/>
              <a:t>01/08/2022</a:t>
            </a:fld>
            <a:endParaRPr lang="en-GB" dirty="0"/>
          </a:p>
        </p:txBody>
      </p:sp>
      <p:sp>
        <p:nvSpPr>
          <p:cNvPr id="6" name="Footer Placeholder 5">
            <a:extLst>
              <a:ext uri="{FF2B5EF4-FFF2-40B4-BE49-F238E27FC236}">
                <a16:creationId xmlns:a16="http://schemas.microsoft.com/office/drawing/2014/main" id="{8A259CA2-4E54-4A80-BABA-2F14A7E44C3A}"/>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5376070E-6CBC-49BC-AAEA-CB803A58E3C0}"/>
              </a:ext>
            </a:extLst>
          </p:cNvPr>
          <p:cNvSpPr>
            <a:spLocks noGrp="1"/>
          </p:cNvSpPr>
          <p:nvPr>
            <p:ph type="sldNum" sz="quarter" idx="12"/>
          </p:nvPr>
        </p:nvSpPr>
        <p:spPr/>
        <p:txBody>
          <a:bodyPr/>
          <a:lstStyle/>
          <a:p>
            <a:fld id="{BF8502C5-DB21-415A-BB6D-27467C06A32D}" type="slidenum">
              <a:rPr lang="en-GB" smtClean="0"/>
              <a:t>‹#›</a:t>
            </a:fld>
            <a:endParaRPr lang="en-GB" dirty="0"/>
          </a:p>
        </p:txBody>
      </p:sp>
    </p:spTree>
    <p:extLst>
      <p:ext uri="{BB962C8B-B14F-4D97-AF65-F5344CB8AC3E}">
        <p14:creationId xmlns:p14="http://schemas.microsoft.com/office/powerpoint/2010/main" val="10628294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CF3F3-7613-44F4-B8D1-EF704C0093E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0D4B3FA-A2B1-43A0-9B16-096032749C53}"/>
              </a:ext>
            </a:extLst>
          </p:cNvPr>
          <p:cNvSpPr>
            <a:spLocks noGrp="1"/>
          </p:cNvSpPr>
          <p:nvPr>
            <p:ph type="pic" idx="1"/>
          </p:nvPr>
        </p:nvSpPr>
        <p:spPr>
          <a:xfrm>
            <a:off x="5183188" y="987473"/>
            <a:ext cx="6172200" cy="4873625"/>
          </a:xfrm>
        </p:spPr>
        <p:txBody>
          <a:bodyPr/>
          <a:lstStyle>
            <a:lvl1pPr marL="0" indent="0">
              <a:buNone/>
              <a:defRPr sz="3200"/>
            </a:lvl1pPr>
            <a:lvl2pPr marL="456771" indent="0">
              <a:buNone/>
              <a:defRPr sz="2800"/>
            </a:lvl2pPr>
            <a:lvl3pPr marL="913584" indent="0">
              <a:buNone/>
              <a:defRPr sz="2400"/>
            </a:lvl3pPr>
            <a:lvl4pPr marL="1370376" indent="0">
              <a:buNone/>
              <a:defRPr sz="2000"/>
            </a:lvl4pPr>
            <a:lvl5pPr marL="1827168" indent="0">
              <a:buNone/>
              <a:defRPr sz="2000"/>
            </a:lvl5pPr>
            <a:lvl6pPr marL="2283982" indent="0">
              <a:buNone/>
              <a:defRPr sz="2000"/>
            </a:lvl6pPr>
            <a:lvl7pPr marL="2740750" indent="0">
              <a:buNone/>
              <a:defRPr sz="2000"/>
            </a:lvl7pPr>
            <a:lvl8pPr marL="3197520" indent="0">
              <a:buNone/>
              <a:defRPr sz="2000"/>
            </a:lvl8pPr>
            <a:lvl9pPr marL="3654291" indent="0">
              <a:buNone/>
              <a:defRPr sz="2000"/>
            </a:lvl9pPr>
          </a:lstStyle>
          <a:p>
            <a:endParaRPr lang="en-GB" dirty="0"/>
          </a:p>
        </p:txBody>
      </p:sp>
      <p:sp>
        <p:nvSpPr>
          <p:cNvPr id="4" name="Text Placeholder 3">
            <a:extLst>
              <a:ext uri="{FF2B5EF4-FFF2-40B4-BE49-F238E27FC236}">
                <a16:creationId xmlns:a16="http://schemas.microsoft.com/office/drawing/2014/main" id="{0C2D38CD-0F1B-44DC-857C-258D7B6C525D}"/>
              </a:ext>
            </a:extLst>
          </p:cNvPr>
          <p:cNvSpPr>
            <a:spLocks noGrp="1"/>
          </p:cNvSpPr>
          <p:nvPr>
            <p:ph type="body" sz="half" idx="2"/>
          </p:nvPr>
        </p:nvSpPr>
        <p:spPr>
          <a:xfrm>
            <a:off x="839788" y="2057403"/>
            <a:ext cx="3932237" cy="3811588"/>
          </a:xfrm>
        </p:spPr>
        <p:txBody>
          <a:bodyPr/>
          <a:lstStyle>
            <a:lvl1pPr marL="0" indent="0">
              <a:buNone/>
              <a:defRPr sz="1600"/>
            </a:lvl1pPr>
            <a:lvl2pPr marL="456771" indent="0">
              <a:buNone/>
              <a:defRPr sz="1500"/>
            </a:lvl2pPr>
            <a:lvl3pPr marL="913584" indent="0">
              <a:buNone/>
              <a:defRPr sz="1200"/>
            </a:lvl3pPr>
            <a:lvl4pPr marL="1370376" indent="0">
              <a:buNone/>
              <a:defRPr sz="1100"/>
            </a:lvl4pPr>
            <a:lvl5pPr marL="1827168" indent="0">
              <a:buNone/>
              <a:defRPr sz="1100"/>
            </a:lvl5pPr>
            <a:lvl6pPr marL="2283982" indent="0">
              <a:buNone/>
              <a:defRPr sz="1100"/>
            </a:lvl6pPr>
            <a:lvl7pPr marL="2740750" indent="0">
              <a:buNone/>
              <a:defRPr sz="1100"/>
            </a:lvl7pPr>
            <a:lvl8pPr marL="3197520" indent="0">
              <a:buNone/>
              <a:defRPr sz="1100"/>
            </a:lvl8pPr>
            <a:lvl9pPr marL="3654291" indent="0">
              <a:buNone/>
              <a:defRPr sz="1100"/>
            </a:lvl9pPr>
          </a:lstStyle>
          <a:p>
            <a:pPr lvl="0"/>
            <a:r>
              <a:rPr lang="en-US"/>
              <a:t>Edit Master text styles</a:t>
            </a:r>
          </a:p>
        </p:txBody>
      </p:sp>
      <p:sp>
        <p:nvSpPr>
          <p:cNvPr id="5" name="Date Placeholder 4">
            <a:extLst>
              <a:ext uri="{FF2B5EF4-FFF2-40B4-BE49-F238E27FC236}">
                <a16:creationId xmlns:a16="http://schemas.microsoft.com/office/drawing/2014/main" id="{0CAB1C65-328D-4083-8746-3C3431DD2BB5}"/>
              </a:ext>
            </a:extLst>
          </p:cNvPr>
          <p:cNvSpPr>
            <a:spLocks noGrp="1"/>
          </p:cNvSpPr>
          <p:nvPr>
            <p:ph type="dt" sz="half" idx="10"/>
          </p:nvPr>
        </p:nvSpPr>
        <p:spPr/>
        <p:txBody>
          <a:bodyPr/>
          <a:lstStyle/>
          <a:p>
            <a:fld id="{BD62164E-7E37-4F72-A684-9FCF5A2AFB15}" type="datetimeFigureOut">
              <a:rPr lang="en-GB" smtClean="0"/>
              <a:t>01/08/2022</a:t>
            </a:fld>
            <a:endParaRPr lang="en-GB" dirty="0"/>
          </a:p>
        </p:txBody>
      </p:sp>
      <p:sp>
        <p:nvSpPr>
          <p:cNvPr id="6" name="Footer Placeholder 5">
            <a:extLst>
              <a:ext uri="{FF2B5EF4-FFF2-40B4-BE49-F238E27FC236}">
                <a16:creationId xmlns:a16="http://schemas.microsoft.com/office/drawing/2014/main" id="{CB65EAF2-7DA2-491A-968D-CD288299339D}"/>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CAC49860-10C6-424B-8B6C-1F61FAA1AE05}"/>
              </a:ext>
            </a:extLst>
          </p:cNvPr>
          <p:cNvSpPr>
            <a:spLocks noGrp="1"/>
          </p:cNvSpPr>
          <p:nvPr>
            <p:ph type="sldNum" sz="quarter" idx="12"/>
          </p:nvPr>
        </p:nvSpPr>
        <p:spPr/>
        <p:txBody>
          <a:bodyPr/>
          <a:lstStyle/>
          <a:p>
            <a:fld id="{BF8502C5-DB21-415A-BB6D-27467C06A32D}" type="slidenum">
              <a:rPr lang="en-GB" smtClean="0"/>
              <a:t>‹#›</a:t>
            </a:fld>
            <a:endParaRPr lang="en-GB" dirty="0"/>
          </a:p>
        </p:txBody>
      </p:sp>
    </p:spTree>
    <p:extLst>
      <p:ext uri="{BB962C8B-B14F-4D97-AF65-F5344CB8AC3E}">
        <p14:creationId xmlns:p14="http://schemas.microsoft.com/office/powerpoint/2010/main" val="39650211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08E1F-CF17-4FC3-84CB-F5DBE098195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03F00BF-6F5A-496D-91C6-4D2F020136EF}"/>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4898BDE-26B1-40C6-AEEC-FC79E9E9F723}"/>
              </a:ext>
            </a:extLst>
          </p:cNvPr>
          <p:cNvSpPr>
            <a:spLocks noGrp="1"/>
          </p:cNvSpPr>
          <p:nvPr>
            <p:ph type="dt" sz="half" idx="10"/>
          </p:nvPr>
        </p:nvSpPr>
        <p:spPr/>
        <p:txBody>
          <a:bodyPr/>
          <a:lstStyle/>
          <a:p>
            <a:fld id="{BD62164E-7E37-4F72-A684-9FCF5A2AFB15}" type="datetimeFigureOut">
              <a:rPr lang="en-GB" smtClean="0"/>
              <a:t>01/08/2022</a:t>
            </a:fld>
            <a:endParaRPr lang="en-GB" dirty="0"/>
          </a:p>
        </p:txBody>
      </p:sp>
      <p:sp>
        <p:nvSpPr>
          <p:cNvPr id="5" name="Footer Placeholder 4">
            <a:extLst>
              <a:ext uri="{FF2B5EF4-FFF2-40B4-BE49-F238E27FC236}">
                <a16:creationId xmlns:a16="http://schemas.microsoft.com/office/drawing/2014/main" id="{C53F8A8C-1489-4B3A-AA6E-3B8C883CAB93}"/>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1E8E4E0E-EEFF-42CB-9ED6-FAC023823512}"/>
              </a:ext>
            </a:extLst>
          </p:cNvPr>
          <p:cNvSpPr>
            <a:spLocks noGrp="1"/>
          </p:cNvSpPr>
          <p:nvPr>
            <p:ph type="sldNum" sz="quarter" idx="12"/>
          </p:nvPr>
        </p:nvSpPr>
        <p:spPr/>
        <p:txBody>
          <a:bodyPr/>
          <a:lstStyle/>
          <a:p>
            <a:fld id="{BF8502C5-DB21-415A-BB6D-27467C06A32D}" type="slidenum">
              <a:rPr lang="en-GB" smtClean="0"/>
              <a:t>‹#›</a:t>
            </a:fld>
            <a:endParaRPr lang="en-GB" dirty="0"/>
          </a:p>
        </p:txBody>
      </p:sp>
    </p:spTree>
    <p:extLst>
      <p:ext uri="{BB962C8B-B14F-4D97-AF65-F5344CB8AC3E}">
        <p14:creationId xmlns:p14="http://schemas.microsoft.com/office/powerpoint/2010/main" val="213752952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D31C817-6A4C-4201-99DF-EBD64B234C33}"/>
              </a:ext>
            </a:extLst>
          </p:cNvPr>
          <p:cNvSpPr>
            <a:spLocks noGrp="1"/>
          </p:cNvSpPr>
          <p:nvPr>
            <p:ph type="title" orient="vert"/>
          </p:nvPr>
        </p:nvSpPr>
        <p:spPr>
          <a:xfrm>
            <a:off x="8724902" y="365173"/>
            <a:ext cx="2628900" cy="5811839"/>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3C2DF69-DBBF-46D2-AA1F-F5A7FC580159}"/>
              </a:ext>
            </a:extLst>
          </p:cNvPr>
          <p:cNvSpPr>
            <a:spLocks noGrp="1"/>
          </p:cNvSpPr>
          <p:nvPr>
            <p:ph type="body" orient="vert" idx="1"/>
          </p:nvPr>
        </p:nvSpPr>
        <p:spPr>
          <a:xfrm>
            <a:off x="838203" y="365173"/>
            <a:ext cx="7734300" cy="581183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6DA1131-ECEC-4178-9C1A-FF7DBEC34ABB}"/>
              </a:ext>
            </a:extLst>
          </p:cNvPr>
          <p:cNvSpPr>
            <a:spLocks noGrp="1"/>
          </p:cNvSpPr>
          <p:nvPr>
            <p:ph type="dt" sz="half" idx="10"/>
          </p:nvPr>
        </p:nvSpPr>
        <p:spPr/>
        <p:txBody>
          <a:bodyPr/>
          <a:lstStyle/>
          <a:p>
            <a:fld id="{BD62164E-7E37-4F72-A684-9FCF5A2AFB15}" type="datetimeFigureOut">
              <a:rPr lang="en-GB" smtClean="0"/>
              <a:t>01/08/2022</a:t>
            </a:fld>
            <a:endParaRPr lang="en-GB" dirty="0"/>
          </a:p>
        </p:txBody>
      </p:sp>
      <p:sp>
        <p:nvSpPr>
          <p:cNvPr id="5" name="Footer Placeholder 4">
            <a:extLst>
              <a:ext uri="{FF2B5EF4-FFF2-40B4-BE49-F238E27FC236}">
                <a16:creationId xmlns:a16="http://schemas.microsoft.com/office/drawing/2014/main" id="{1320E1C6-5BAB-4FEE-B5EE-F1409901D6A2}"/>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D445EB61-0F59-49B9-995C-63F2B0D4F5ED}"/>
              </a:ext>
            </a:extLst>
          </p:cNvPr>
          <p:cNvSpPr>
            <a:spLocks noGrp="1"/>
          </p:cNvSpPr>
          <p:nvPr>
            <p:ph type="sldNum" sz="quarter" idx="12"/>
          </p:nvPr>
        </p:nvSpPr>
        <p:spPr/>
        <p:txBody>
          <a:bodyPr/>
          <a:lstStyle/>
          <a:p>
            <a:fld id="{BF8502C5-DB21-415A-BB6D-27467C06A32D}" type="slidenum">
              <a:rPr lang="en-GB" smtClean="0"/>
              <a:t>‹#›</a:t>
            </a:fld>
            <a:endParaRPr lang="en-GB" dirty="0"/>
          </a:p>
        </p:txBody>
      </p:sp>
    </p:spTree>
    <p:extLst>
      <p:ext uri="{BB962C8B-B14F-4D97-AF65-F5344CB8AC3E}">
        <p14:creationId xmlns:p14="http://schemas.microsoft.com/office/powerpoint/2010/main" val="35852291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txBox="1">
            <a:spLocks noGrp="1"/>
          </p:cNvSpPr>
          <p:nvPr>
            <p:ph type="title"/>
          </p:nvPr>
        </p:nvSpPr>
        <p:spPr/>
        <p:txBody>
          <a:bodyPr/>
          <a:lstStyle>
            <a:lvl1pPr>
              <a:defRPr/>
            </a:lvl1pPr>
          </a:lstStyle>
          <a:p>
            <a:pPr lvl="0"/>
            <a:r>
              <a:rPr lang="en-US"/>
              <a:t>Click to edit Master title style</a:t>
            </a:r>
            <a:endParaRPr lang="en-GB"/>
          </a:p>
        </p:txBody>
      </p:sp>
      <p:sp>
        <p:nvSpPr>
          <p:cNvPr id="3" name="Text Placeholder 2"/>
          <p:cNvSpPr txBox="1">
            <a:spLocks noGrp="1"/>
          </p:cNvSpPr>
          <p:nvPr>
            <p:ph type="body"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txBox="1">
            <a:spLocks noGrp="1"/>
          </p:cNvSpPr>
          <p:nvPr>
            <p:ph type="dt" sz="half" idx="7"/>
          </p:nvPr>
        </p:nvSpPr>
        <p:spPr/>
        <p:txBody>
          <a:bodyPr/>
          <a:lstStyle>
            <a:lvl1pPr>
              <a:defRPr>
                <a:solidFill>
                  <a:srgbClr val="000000"/>
                </a:solidFill>
                <a:latin typeface="Gill Sans"/>
              </a:defRPr>
            </a:lvl1pPr>
          </a:lstStyle>
          <a:p>
            <a:fld id="{5C5AC8AC-F45B-41E2-8C7B-73E06D9B2334}" type="datetime1">
              <a:rPr lang="en-GB"/>
              <a:pPr/>
              <a:t>01/08/2022</a:t>
            </a:fld>
            <a:endParaRPr lang="en-GB" dirty="0"/>
          </a:p>
        </p:txBody>
      </p:sp>
      <p:sp>
        <p:nvSpPr>
          <p:cNvPr id="5" name="Footer Placeholder 4"/>
          <p:cNvSpPr txBox="1">
            <a:spLocks noGrp="1"/>
          </p:cNvSpPr>
          <p:nvPr>
            <p:ph type="ftr" sz="quarter" idx="9"/>
          </p:nvPr>
        </p:nvSpPr>
        <p:spPr/>
        <p:txBody>
          <a:bodyPr/>
          <a:lstStyle>
            <a:lvl1pPr>
              <a:defRPr>
                <a:solidFill>
                  <a:srgbClr val="000000"/>
                </a:solidFill>
                <a:latin typeface="Gill Sans"/>
              </a:defRPr>
            </a:lvl1pPr>
          </a:lstStyle>
          <a:p>
            <a:endParaRPr lang="en-GB" dirty="0"/>
          </a:p>
        </p:txBody>
      </p:sp>
      <p:sp>
        <p:nvSpPr>
          <p:cNvPr id="6" name="Slide Number Placeholder 5"/>
          <p:cNvSpPr txBox="1">
            <a:spLocks noGrp="1"/>
          </p:cNvSpPr>
          <p:nvPr>
            <p:ph type="sldNum" sz="quarter" idx="8"/>
          </p:nvPr>
        </p:nvSpPr>
        <p:spPr/>
        <p:txBody>
          <a:bodyPr/>
          <a:lstStyle>
            <a:lvl1pPr>
              <a:defRPr>
                <a:solidFill>
                  <a:srgbClr val="000000"/>
                </a:solidFill>
                <a:latin typeface="Gill Sans"/>
              </a:defRPr>
            </a:lvl1pPr>
          </a:lstStyle>
          <a:p>
            <a:fld id="{2259F4E7-343F-4AB5-BD03-6DEEE3E095A0}" type="slidenum">
              <a:rPr/>
              <a:pPr/>
              <a:t>‹#›</a:t>
            </a:fld>
            <a:endParaRPr lang="en-GB" dirty="0"/>
          </a:p>
        </p:txBody>
      </p:sp>
    </p:spTree>
    <p:extLst>
      <p:ext uri="{BB962C8B-B14F-4D97-AF65-F5344CB8AC3E}">
        <p14:creationId xmlns:p14="http://schemas.microsoft.com/office/powerpoint/2010/main" val="2255300320"/>
      </p:ext>
    </p:extLst>
  </p:cSld>
  <p:clrMapOvr>
    <a:masterClrMapping/>
  </p:clrMapOvr>
  <p:transition spd="med">
    <p:fade/>
  </p:transition>
  <p:hf sldNum="0"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dirty="0"/>
              <a:t>Presentation title</a:t>
            </a:r>
          </a:p>
        </p:txBody>
      </p:sp>
      <p:sp>
        <p:nvSpPr>
          <p:cNvPr id="11" name="Subtitle 2"/>
          <p:cNvSpPr>
            <a:spLocks noGrp="1"/>
          </p:cNvSpPr>
          <p:nvPr>
            <p:ph type="subTitle" idx="1" hasCustomPrompt="1"/>
          </p:nvPr>
        </p:nvSpPr>
        <p:spPr>
          <a:xfrm>
            <a:off x="618301" y="4364955"/>
            <a:ext cx="9144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a:stretch>
            <a:fillRect/>
          </a:stretch>
        </p:blipFill>
        <p:spPr>
          <a:xfrm>
            <a:off x="10261546" y="293024"/>
            <a:ext cx="1440873" cy="436418"/>
          </a:xfrm>
          <a:prstGeom prst="rect">
            <a:avLst/>
          </a:prstGeom>
        </p:spPr>
      </p:pic>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3"/>
          <a:stretch>
            <a:fillRect/>
          </a:stretch>
        </p:blipFill>
        <p:spPr>
          <a:xfrm>
            <a:off x="0" y="6345237"/>
            <a:ext cx="12192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3434080" y="5792942"/>
            <a:ext cx="5323840"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GB" sz="1800" dirty="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97161167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14920" y="1343804"/>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itle 10"/>
          <p:cNvSpPr>
            <a:spLocks noGrp="1"/>
          </p:cNvSpPr>
          <p:nvPr>
            <p:ph type="title"/>
          </p:nvPr>
        </p:nvSpPr>
        <p:spPr>
          <a:xfrm>
            <a:off x="609601" y="548641"/>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dirty="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10261546" y="293024"/>
            <a:ext cx="1440873" cy="436418"/>
          </a:xfrm>
          <a:prstGeom prst="rect">
            <a:avLst/>
          </a:prstGeom>
        </p:spPr>
      </p:pic>
    </p:spTree>
    <p:extLst>
      <p:ext uri="{BB962C8B-B14F-4D97-AF65-F5344CB8AC3E}">
        <p14:creationId xmlns:p14="http://schemas.microsoft.com/office/powerpoint/2010/main" val="369784163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5270E70-677F-40BD-90D2-229FFB08511D}"/>
              </a:ext>
            </a:extLst>
          </p:cNvPr>
          <p:cNvSpPr>
            <a:spLocks noGrp="1"/>
          </p:cNvSpPr>
          <p:nvPr>
            <p:ph type="ctrTitle"/>
          </p:nvPr>
        </p:nvSpPr>
        <p:spPr>
          <a:xfrm>
            <a:off x="1524000" y="1122363"/>
            <a:ext cx="9144000" cy="2387600"/>
          </a:xfrm>
        </p:spPr>
        <p:txBody>
          <a:bodyPr anchor="b"/>
          <a:lstStyle>
            <a:lvl1pPr algn="ctr">
              <a:defRPr sz="6000"/>
            </a:lvl1pPr>
          </a:lstStyle>
          <a:p>
            <a:r>
              <a:rPr lang="sv-SE"/>
              <a:t>Klicka här för att ändra mall för rubrikformat</a:t>
            </a:r>
          </a:p>
        </p:txBody>
      </p:sp>
      <p:sp>
        <p:nvSpPr>
          <p:cNvPr id="3" name="Underrubrik 2">
            <a:extLst>
              <a:ext uri="{FF2B5EF4-FFF2-40B4-BE49-F238E27FC236}">
                <a16:creationId xmlns:a16="http://schemas.microsoft.com/office/drawing/2014/main" id="{2D1BA69B-BA4A-4CDE-A430-C4382BB1EB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sp>
        <p:nvSpPr>
          <p:cNvPr id="4" name="Platshållare för datum 3">
            <a:extLst>
              <a:ext uri="{FF2B5EF4-FFF2-40B4-BE49-F238E27FC236}">
                <a16:creationId xmlns:a16="http://schemas.microsoft.com/office/drawing/2014/main" id="{9EB7B11F-88E5-46DC-997A-36D8F1A330B1}"/>
              </a:ext>
            </a:extLst>
          </p:cNvPr>
          <p:cNvSpPr>
            <a:spLocks noGrp="1"/>
          </p:cNvSpPr>
          <p:nvPr>
            <p:ph type="dt" sz="half" idx="10"/>
          </p:nvPr>
        </p:nvSpPr>
        <p:spPr/>
        <p:txBody>
          <a:bodyPr/>
          <a:lstStyle/>
          <a:p>
            <a:fld id="{76F3F801-6EA6-4A89-8185-92E2ADC6598D}" type="datetimeFigureOut">
              <a:rPr lang="sv-SE" smtClean="0"/>
              <a:t>2022-08-01</a:t>
            </a:fld>
            <a:endParaRPr lang="sv-SE"/>
          </a:p>
        </p:txBody>
      </p:sp>
      <p:sp>
        <p:nvSpPr>
          <p:cNvPr id="5" name="Platshållare för sidfot 4">
            <a:extLst>
              <a:ext uri="{FF2B5EF4-FFF2-40B4-BE49-F238E27FC236}">
                <a16:creationId xmlns:a16="http://schemas.microsoft.com/office/drawing/2014/main" id="{E36603CB-7C68-4357-BA3D-65EAD3D367E7}"/>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6D8AD066-BEA1-496B-B86A-56209F151F51}"/>
              </a:ext>
            </a:extLst>
          </p:cNvPr>
          <p:cNvSpPr>
            <a:spLocks noGrp="1"/>
          </p:cNvSpPr>
          <p:nvPr>
            <p:ph type="sldNum" sz="quarter" idx="12"/>
          </p:nvPr>
        </p:nvSpPr>
        <p:spPr/>
        <p:txBody>
          <a:bodyPr/>
          <a:lstStyle/>
          <a:p>
            <a:fld id="{A50E5D45-2219-4B91-9274-756F2972603F}" type="slidenum">
              <a:rPr lang="sv-SE" smtClean="0"/>
              <a:t>‹#›</a:t>
            </a:fld>
            <a:endParaRPr lang="sv-SE"/>
          </a:p>
        </p:txBody>
      </p:sp>
    </p:spTree>
    <p:extLst>
      <p:ext uri="{BB962C8B-B14F-4D97-AF65-F5344CB8AC3E}">
        <p14:creationId xmlns:p14="http://schemas.microsoft.com/office/powerpoint/2010/main" val="32896085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BE84D-F579-4F47-A367-2FD75D8132AF}"/>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39727C1-9D1B-4D2B-B2FB-54E34A7029A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18B7738-1F1D-4A47-A96A-033BA19D974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6B267937-7692-4659-B553-DCA1B4E66A1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6BF0683-903E-4E64-9CA1-0109566ABF6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521DBFE4-C9ED-4BBD-83B8-86346B8F51F1}"/>
              </a:ext>
            </a:extLst>
          </p:cNvPr>
          <p:cNvSpPr>
            <a:spLocks noGrp="1"/>
          </p:cNvSpPr>
          <p:nvPr>
            <p:ph type="dt" sz="half" idx="10"/>
          </p:nvPr>
        </p:nvSpPr>
        <p:spPr/>
        <p:txBody>
          <a:bodyPr/>
          <a:lstStyle/>
          <a:p>
            <a:fld id="{2EFBDD21-3B9A-444C-B391-3A2426FE1562}" type="datetimeFigureOut">
              <a:rPr lang="en-GB" smtClean="0"/>
              <a:t>01/08/2022</a:t>
            </a:fld>
            <a:endParaRPr lang="en-GB"/>
          </a:p>
        </p:txBody>
      </p:sp>
      <p:sp>
        <p:nvSpPr>
          <p:cNvPr id="8" name="Footer Placeholder 7">
            <a:extLst>
              <a:ext uri="{FF2B5EF4-FFF2-40B4-BE49-F238E27FC236}">
                <a16:creationId xmlns:a16="http://schemas.microsoft.com/office/drawing/2014/main" id="{D3A7ECC2-78C6-4B7A-A13A-0D31533E643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1D009619-EB10-4B70-9297-D016FA23A204}"/>
              </a:ext>
            </a:extLst>
          </p:cNvPr>
          <p:cNvSpPr>
            <a:spLocks noGrp="1"/>
          </p:cNvSpPr>
          <p:nvPr>
            <p:ph type="sldNum" sz="quarter" idx="12"/>
          </p:nvPr>
        </p:nvSpPr>
        <p:spPr/>
        <p:txBody>
          <a:bodyPr/>
          <a:lstStyle/>
          <a:p>
            <a:fld id="{55B96285-05FD-4992-919D-63CEE9F74ED4}" type="slidenum">
              <a:rPr lang="en-GB" smtClean="0"/>
              <a:t>‹#›</a:t>
            </a:fld>
            <a:endParaRPr lang="en-GB"/>
          </a:p>
        </p:txBody>
      </p:sp>
    </p:spTree>
    <p:extLst>
      <p:ext uri="{BB962C8B-B14F-4D97-AF65-F5344CB8AC3E}">
        <p14:creationId xmlns:p14="http://schemas.microsoft.com/office/powerpoint/2010/main" val="40665840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4E4ECDC-F1B4-4F39-9C4A-B7E56A763501}"/>
              </a:ext>
            </a:extLst>
          </p:cNvPr>
          <p:cNvSpPr>
            <a:spLocks noGrp="1"/>
          </p:cNvSpPr>
          <p:nvPr>
            <p:ph type="title"/>
          </p:nvPr>
        </p:nvSpPr>
        <p:spPr/>
        <p:txBody>
          <a:bodyPr/>
          <a:lstStyle>
            <a:lvl1pPr>
              <a:defRPr b="1">
                <a:solidFill>
                  <a:schemeClr val="accent1"/>
                </a:solidFill>
                <a:latin typeface="+mn-lt"/>
              </a:defRPr>
            </a:lvl1pPr>
          </a:lstStyle>
          <a:p>
            <a:r>
              <a:rPr lang="sv-SE" dirty="0"/>
              <a:t>Klicka här för att ändra mall för rubrikformat</a:t>
            </a:r>
          </a:p>
        </p:txBody>
      </p:sp>
      <p:sp>
        <p:nvSpPr>
          <p:cNvPr id="3" name="Platshållare för innehåll 2">
            <a:extLst>
              <a:ext uri="{FF2B5EF4-FFF2-40B4-BE49-F238E27FC236}">
                <a16:creationId xmlns:a16="http://schemas.microsoft.com/office/drawing/2014/main" id="{3EA9DF08-68E8-4172-B24E-58DD58C8AA7F}"/>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778481A3-EDE7-4455-93B6-AC63EB37B838}"/>
              </a:ext>
            </a:extLst>
          </p:cNvPr>
          <p:cNvSpPr>
            <a:spLocks noGrp="1"/>
          </p:cNvSpPr>
          <p:nvPr>
            <p:ph type="dt" sz="half" idx="10"/>
          </p:nvPr>
        </p:nvSpPr>
        <p:spPr/>
        <p:txBody>
          <a:bodyPr/>
          <a:lstStyle/>
          <a:p>
            <a:fld id="{76F3F801-6EA6-4A89-8185-92E2ADC6598D}" type="datetimeFigureOut">
              <a:rPr lang="sv-SE" smtClean="0"/>
              <a:t>2022-08-01</a:t>
            </a:fld>
            <a:endParaRPr lang="sv-SE"/>
          </a:p>
        </p:txBody>
      </p:sp>
      <p:sp>
        <p:nvSpPr>
          <p:cNvPr id="5" name="Platshållare för sidfot 4">
            <a:extLst>
              <a:ext uri="{FF2B5EF4-FFF2-40B4-BE49-F238E27FC236}">
                <a16:creationId xmlns:a16="http://schemas.microsoft.com/office/drawing/2014/main" id="{C6FBED1A-1C81-4A83-8E38-4DAA5A4C7503}"/>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3FC9BD18-0153-43A0-8818-D5CD726B1838}"/>
              </a:ext>
            </a:extLst>
          </p:cNvPr>
          <p:cNvSpPr>
            <a:spLocks noGrp="1"/>
          </p:cNvSpPr>
          <p:nvPr>
            <p:ph type="sldNum" sz="quarter" idx="12"/>
          </p:nvPr>
        </p:nvSpPr>
        <p:spPr/>
        <p:txBody>
          <a:bodyPr/>
          <a:lstStyle/>
          <a:p>
            <a:fld id="{A50E5D45-2219-4B91-9274-756F2972603F}" type="slidenum">
              <a:rPr lang="sv-SE" smtClean="0"/>
              <a:t>‹#›</a:t>
            </a:fld>
            <a:endParaRPr lang="sv-SE"/>
          </a:p>
        </p:txBody>
      </p:sp>
    </p:spTree>
    <p:extLst>
      <p:ext uri="{BB962C8B-B14F-4D97-AF65-F5344CB8AC3E}">
        <p14:creationId xmlns:p14="http://schemas.microsoft.com/office/powerpoint/2010/main" val="13994363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9DC6500-40EB-442C-A712-D87E022C6D6A}"/>
              </a:ext>
            </a:extLst>
          </p:cNvPr>
          <p:cNvSpPr>
            <a:spLocks noGrp="1"/>
          </p:cNvSpPr>
          <p:nvPr>
            <p:ph type="title"/>
          </p:nvPr>
        </p:nvSpPr>
        <p:spPr>
          <a:xfrm>
            <a:off x="831850" y="1709738"/>
            <a:ext cx="10515600" cy="2852737"/>
          </a:xfrm>
        </p:spPr>
        <p:txBody>
          <a:bodyPr anchor="b"/>
          <a:lstStyle>
            <a:lvl1pPr>
              <a:defRPr sz="6000"/>
            </a:lvl1pPr>
          </a:lstStyle>
          <a:p>
            <a:r>
              <a:rPr lang="sv-SE"/>
              <a:t>Klicka här för att ändra mall för rubrikformat</a:t>
            </a:r>
          </a:p>
        </p:txBody>
      </p:sp>
      <p:sp>
        <p:nvSpPr>
          <p:cNvPr id="3" name="Platshållare för text 2">
            <a:extLst>
              <a:ext uri="{FF2B5EF4-FFF2-40B4-BE49-F238E27FC236}">
                <a16:creationId xmlns:a16="http://schemas.microsoft.com/office/drawing/2014/main" id="{74351AE7-B632-4C70-B5A7-21F8F091EED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a:extLst>
              <a:ext uri="{FF2B5EF4-FFF2-40B4-BE49-F238E27FC236}">
                <a16:creationId xmlns:a16="http://schemas.microsoft.com/office/drawing/2014/main" id="{E174DB30-2609-45E3-8401-1754EDB01F0E}"/>
              </a:ext>
            </a:extLst>
          </p:cNvPr>
          <p:cNvSpPr>
            <a:spLocks noGrp="1"/>
          </p:cNvSpPr>
          <p:nvPr>
            <p:ph type="dt" sz="half" idx="10"/>
          </p:nvPr>
        </p:nvSpPr>
        <p:spPr/>
        <p:txBody>
          <a:bodyPr/>
          <a:lstStyle/>
          <a:p>
            <a:fld id="{76F3F801-6EA6-4A89-8185-92E2ADC6598D}" type="datetimeFigureOut">
              <a:rPr lang="sv-SE" smtClean="0"/>
              <a:t>2022-08-01</a:t>
            </a:fld>
            <a:endParaRPr lang="sv-SE"/>
          </a:p>
        </p:txBody>
      </p:sp>
      <p:sp>
        <p:nvSpPr>
          <p:cNvPr id="5" name="Platshållare för sidfot 4">
            <a:extLst>
              <a:ext uri="{FF2B5EF4-FFF2-40B4-BE49-F238E27FC236}">
                <a16:creationId xmlns:a16="http://schemas.microsoft.com/office/drawing/2014/main" id="{761F2FF7-2F9B-4E43-8EE8-FD408ECBAB85}"/>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582D7F92-8C04-41F8-A711-2C36534E124B}"/>
              </a:ext>
            </a:extLst>
          </p:cNvPr>
          <p:cNvSpPr>
            <a:spLocks noGrp="1"/>
          </p:cNvSpPr>
          <p:nvPr>
            <p:ph type="sldNum" sz="quarter" idx="12"/>
          </p:nvPr>
        </p:nvSpPr>
        <p:spPr/>
        <p:txBody>
          <a:bodyPr/>
          <a:lstStyle/>
          <a:p>
            <a:fld id="{A50E5D45-2219-4B91-9274-756F2972603F}" type="slidenum">
              <a:rPr lang="sv-SE" smtClean="0"/>
              <a:t>‹#›</a:t>
            </a:fld>
            <a:endParaRPr lang="sv-SE"/>
          </a:p>
        </p:txBody>
      </p:sp>
    </p:spTree>
    <p:extLst>
      <p:ext uri="{BB962C8B-B14F-4D97-AF65-F5344CB8AC3E}">
        <p14:creationId xmlns:p14="http://schemas.microsoft.com/office/powerpoint/2010/main" val="324439387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5B71A68-2631-43DC-AC9A-A42BA90288E6}"/>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072A2725-E119-4F48-B064-09FD8970D29C}"/>
              </a:ext>
            </a:extLst>
          </p:cNvPr>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a:extLst>
              <a:ext uri="{FF2B5EF4-FFF2-40B4-BE49-F238E27FC236}">
                <a16:creationId xmlns:a16="http://schemas.microsoft.com/office/drawing/2014/main" id="{D6AA100C-CDF2-42CE-A757-7E5829C8283E}"/>
              </a:ext>
            </a:extLst>
          </p:cNvPr>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a:extLst>
              <a:ext uri="{FF2B5EF4-FFF2-40B4-BE49-F238E27FC236}">
                <a16:creationId xmlns:a16="http://schemas.microsoft.com/office/drawing/2014/main" id="{4AF8E870-63D1-40C4-9123-640D856AD794}"/>
              </a:ext>
            </a:extLst>
          </p:cNvPr>
          <p:cNvSpPr>
            <a:spLocks noGrp="1"/>
          </p:cNvSpPr>
          <p:nvPr>
            <p:ph type="dt" sz="half" idx="10"/>
          </p:nvPr>
        </p:nvSpPr>
        <p:spPr/>
        <p:txBody>
          <a:bodyPr/>
          <a:lstStyle/>
          <a:p>
            <a:fld id="{76F3F801-6EA6-4A89-8185-92E2ADC6598D}" type="datetimeFigureOut">
              <a:rPr lang="sv-SE" smtClean="0"/>
              <a:t>2022-08-01</a:t>
            </a:fld>
            <a:endParaRPr lang="sv-SE"/>
          </a:p>
        </p:txBody>
      </p:sp>
      <p:sp>
        <p:nvSpPr>
          <p:cNvPr id="6" name="Platshållare för sidfot 5">
            <a:extLst>
              <a:ext uri="{FF2B5EF4-FFF2-40B4-BE49-F238E27FC236}">
                <a16:creationId xmlns:a16="http://schemas.microsoft.com/office/drawing/2014/main" id="{4FB2AE85-37FF-491F-8E4A-B0817BE21556}"/>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1D85416C-D770-4DA4-9D63-512A4EA5D9D4}"/>
              </a:ext>
            </a:extLst>
          </p:cNvPr>
          <p:cNvSpPr>
            <a:spLocks noGrp="1"/>
          </p:cNvSpPr>
          <p:nvPr>
            <p:ph type="sldNum" sz="quarter" idx="12"/>
          </p:nvPr>
        </p:nvSpPr>
        <p:spPr/>
        <p:txBody>
          <a:bodyPr/>
          <a:lstStyle/>
          <a:p>
            <a:fld id="{A50E5D45-2219-4B91-9274-756F2972603F}" type="slidenum">
              <a:rPr lang="sv-SE" smtClean="0"/>
              <a:t>‹#›</a:t>
            </a:fld>
            <a:endParaRPr lang="sv-SE"/>
          </a:p>
        </p:txBody>
      </p:sp>
    </p:spTree>
    <p:extLst>
      <p:ext uri="{BB962C8B-B14F-4D97-AF65-F5344CB8AC3E}">
        <p14:creationId xmlns:p14="http://schemas.microsoft.com/office/powerpoint/2010/main" val="211169518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B0C0CD-4F31-49F2-B08F-4E7E21B5769C}"/>
              </a:ext>
            </a:extLst>
          </p:cNvPr>
          <p:cNvSpPr>
            <a:spLocks noGrp="1"/>
          </p:cNvSpPr>
          <p:nvPr>
            <p:ph type="title"/>
          </p:nvPr>
        </p:nvSpPr>
        <p:spPr>
          <a:xfrm>
            <a:off x="839788" y="365125"/>
            <a:ext cx="10515600" cy="1325563"/>
          </a:xfrm>
        </p:spPr>
        <p:txBody>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2700AF21-DEDD-46FC-AE28-86B5EAF0046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E59A91FA-EC71-4432-9395-6956C0A7BC6F}"/>
              </a:ext>
            </a:extLst>
          </p:cNvPr>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a:extLst>
              <a:ext uri="{FF2B5EF4-FFF2-40B4-BE49-F238E27FC236}">
                <a16:creationId xmlns:a16="http://schemas.microsoft.com/office/drawing/2014/main" id="{44DD1418-BA4F-4352-A5D3-47FC26AC672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a:extLst>
              <a:ext uri="{FF2B5EF4-FFF2-40B4-BE49-F238E27FC236}">
                <a16:creationId xmlns:a16="http://schemas.microsoft.com/office/drawing/2014/main" id="{A0AAFAFF-653B-40C7-B31C-E694E35C63DF}"/>
              </a:ext>
            </a:extLst>
          </p:cNvPr>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a:extLst>
              <a:ext uri="{FF2B5EF4-FFF2-40B4-BE49-F238E27FC236}">
                <a16:creationId xmlns:a16="http://schemas.microsoft.com/office/drawing/2014/main" id="{6A325470-C8D2-4C19-808B-A95BC72BEF3E}"/>
              </a:ext>
            </a:extLst>
          </p:cNvPr>
          <p:cNvSpPr>
            <a:spLocks noGrp="1"/>
          </p:cNvSpPr>
          <p:nvPr>
            <p:ph type="dt" sz="half" idx="10"/>
          </p:nvPr>
        </p:nvSpPr>
        <p:spPr/>
        <p:txBody>
          <a:bodyPr/>
          <a:lstStyle/>
          <a:p>
            <a:fld id="{76F3F801-6EA6-4A89-8185-92E2ADC6598D}" type="datetimeFigureOut">
              <a:rPr lang="sv-SE" smtClean="0"/>
              <a:t>2022-08-01</a:t>
            </a:fld>
            <a:endParaRPr lang="sv-SE"/>
          </a:p>
        </p:txBody>
      </p:sp>
      <p:sp>
        <p:nvSpPr>
          <p:cNvPr id="8" name="Platshållare för sidfot 7">
            <a:extLst>
              <a:ext uri="{FF2B5EF4-FFF2-40B4-BE49-F238E27FC236}">
                <a16:creationId xmlns:a16="http://schemas.microsoft.com/office/drawing/2014/main" id="{475A08A6-5A23-4196-A48A-9F67F3D178BD}"/>
              </a:ext>
            </a:extLst>
          </p:cNvPr>
          <p:cNvSpPr>
            <a:spLocks noGrp="1"/>
          </p:cNvSpPr>
          <p:nvPr>
            <p:ph type="ftr" sz="quarter" idx="11"/>
          </p:nvPr>
        </p:nvSpPr>
        <p:spPr/>
        <p:txBody>
          <a:bodyPr/>
          <a:lstStyle/>
          <a:p>
            <a:endParaRPr lang="sv-SE"/>
          </a:p>
        </p:txBody>
      </p:sp>
      <p:sp>
        <p:nvSpPr>
          <p:cNvPr id="9" name="Platshållare för bildnummer 8">
            <a:extLst>
              <a:ext uri="{FF2B5EF4-FFF2-40B4-BE49-F238E27FC236}">
                <a16:creationId xmlns:a16="http://schemas.microsoft.com/office/drawing/2014/main" id="{B71288A1-DB7F-4C0B-BCE4-ACA7ADB92879}"/>
              </a:ext>
            </a:extLst>
          </p:cNvPr>
          <p:cNvSpPr>
            <a:spLocks noGrp="1"/>
          </p:cNvSpPr>
          <p:nvPr>
            <p:ph type="sldNum" sz="quarter" idx="12"/>
          </p:nvPr>
        </p:nvSpPr>
        <p:spPr/>
        <p:txBody>
          <a:bodyPr/>
          <a:lstStyle/>
          <a:p>
            <a:fld id="{A50E5D45-2219-4B91-9274-756F2972603F}" type="slidenum">
              <a:rPr lang="sv-SE" smtClean="0"/>
              <a:t>‹#›</a:t>
            </a:fld>
            <a:endParaRPr lang="sv-SE"/>
          </a:p>
        </p:txBody>
      </p:sp>
    </p:spTree>
    <p:extLst>
      <p:ext uri="{BB962C8B-B14F-4D97-AF65-F5344CB8AC3E}">
        <p14:creationId xmlns:p14="http://schemas.microsoft.com/office/powerpoint/2010/main" val="37610562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1E76499-346D-44DF-8F2B-58DF3728BB19}"/>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491F6EF4-B18F-439D-BF10-2374FDE24E2B}"/>
              </a:ext>
            </a:extLst>
          </p:cNvPr>
          <p:cNvSpPr>
            <a:spLocks noGrp="1"/>
          </p:cNvSpPr>
          <p:nvPr>
            <p:ph type="dt" sz="half" idx="10"/>
          </p:nvPr>
        </p:nvSpPr>
        <p:spPr/>
        <p:txBody>
          <a:bodyPr/>
          <a:lstStyle/>
          <a:p>
            <a:fld id="{76F3F801-6EA6-4A89-8185-92E2ADC6598D}" type="datetimeFigureOut">
              <a:rPr lang="sv-SE" smtClean="0"/>
              <a:t>2022-08-01</a:t>
            </a:fld>
            <a:endParaRPr lang="sv-SE"/>
          </a:p>
        </p:txBody>
      </p:sp>
      <p:sp>
        <p:nvSpPr>
          <p:cNvPr id="4" name="Platshållare för sidfot 3">
            <a:extLst>
              <a:ext uri="{FF2B5EF4-FFF2-40B4-BE49-F238E27FC236}">
                <a16:creationId xmlns:a16="http://schemas.microsoft.com/office/drawing/2014/main" id="{C35EFAE9-BD2B-4764-87FB-CD74C24E680B}"/>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6FA7218B-721C-4777-A3FA-2928686DE29C}"/>
              </a:ext>
            </a:extLst>
          </p:cNvPr>
          <p:cNvSpPr>
            <a:spLocks noGrp="1"/>
          </p:cNvSpPr>
          <p:nvPr>
            <p:ph type="sldNum" sz="quarter" idx="12"/>
          </p:nvPr>
        </p:nvSpPr>
        <p:spPr/>
        <p:txBody>
          <a:bodyPr/>
          <a:lstStyle/>
          <a:p>
            <a:fld id="{A50E5D45-2219-4B91-9274-756F2972603F}" type="slidenum">
              <a:rPr lang="sv-SE" smtClean="0"/>
              <a:t>‹#›</a:t>
            </a:fld>
            <a:endParaRPr lang="sv-SE"/>
          </a:p>
        </p:txBody>
      </p:sp>
    </p:spTree>
    <p:extLst>
      <p:ext uri="{BB962C8B-B14F-4D97-AF65-F5344CB8AC3E}">
        <p14:creationId xmlns:p14="http://schemas.microsoft.com/office/powerpoint/2010/main" val="12755788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06291F59-42B5-41DD-AD93-74A82D1EE20D}"/>
              </a:ext>
            </a:extLst>
          </p:cNvPr>
          <p:cNvSpPr>
            <a:spLocks noGrp="1"/>
          </p:cNvSpPr>
          <p:nvPr>
            <p:ph type="dt" sz="half" idx="10"/>
          </p:nvPr>
        </p:nvSpPr>
        <p:spPr/>
        <p:txBody>
          <a:bodyPr/>
          <a:lstStyle/>
          <a:p>
            <a:fld id="{76F3F801-6EA6-4A89-8185-92E2ADC6598D}" type="datetimeFigureOut">
              <a:rPr lang="sv-SE" smtClean="0"/>
              <a:t>2022-08-01</a:t>
            </a:fld>
            <a:endParaRPr lang="sv-SE"/>
          </a:p>
        </p:txBody>
      </p:sp>
      <p:sp>
        <p:nvSpPr>
          <p:cNvPr id="3" name="Platshållare för sidfot 2">
            <a:extLst>
              <a:ext uri="{FF2B5EF4-FFF2-40B4-BE49-F238E27FC236}">
                <a16:creationId xmlns:a16="http://schemas.microsoft.com/office/drawing/2014/main" id="{2E6167CE-31FE-4446-8321-D3F46410464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D4C28834-D692-4075-A642-56D69DF3D298}"/>
              </a:ext>
            </a:extLst>
          </p:cNvPr>
          <p:cNvSpPr>
            <a:spLocks noGrp="1"/>
          </p:cNvSpPr>
          <p:nvPr>
            <p:ph type="sldNum" sz="quarter" idx="12"/>
          </p:nvPr>
        </p:nvSpPr>
        <p:spPr/>
        <p:txBody>
          <a:bodyPr/>
          <a:lstStyle/>
          <a:p>
            <a:fld id="{A50E5D45-2219-4B91-9274-756F2972603F}" type="slidenum">
              <a:rPr lang="sv-SE" smtClean="0"/>
              <a:t>‹#›</a:t>
            </a:fld>
            <a:endParaRPr lang="sv-SE"/>
          </a:p>
        </p:txBody>
      </p:sp>
    </p:spTree>
    <p:extLst>
      <p:ext uri="{BB962C8B-B14F-4D97-AF65-F5344CB8AC3E}">
        <p14:creationId xmlns:p14="http://schemas.microsoft.com/office/powerpoint/2010/main" val="18580500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Text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42A4C19-7E71-4B36-9080-27E9C643FE85}"/>
              </a:ext>
            </a:extLst>
          </p:cNvPr>
          <p:cNvSpPr>
            <a:spLocks noGrp="1"/>
          </p:cNvSpPr>
          <p:nvPr>
            <p:ph type="title"/>
          </p:nvPr>
        </p:nvSpPr>
        <p:spPr>
          <a:xfrm>
            <a:off x="839788" y="457200"/>
            <a:ext cx="3932237" cy="1600200"/>
          </a:xfrm>
        </p:spPr>
        <p:txBody>
          <a:bodyPr anchor="b"/>
          <a:lstStyle>
            <a:lvl1pPr>
              <a:defRPr sz="3200"/>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572CC15D-48D0-4E66-B9EF-2FF12DFA3FA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text 3">
            <a:extLst>
              <a:ext uri="{FF2B5EF4-FFF2-40B4-BE49-F238E27FC236}">
                <a16:creationId xmlns:a16="http://schemas.microsoft.com/office/drawing/2014/main" id="{53949C8F-FEAE-4373-B5B2-C22350CD5B7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430CBB26-47FB-4C64-8B86-395D335CB0B8}"/>
              </a:ext>
            </a:extLst>
          </p:cNvPr>
          <p:cNvSpPr>
            <a:spLocks noGrp="1"/>
          </p:cNvSpPr>
          <p:nvPr>
            <p:ph type="dt" sz="half" idx="10"/>
          </p:nvPr>
        </p:nvSpPr>
        <p:spPr/>
        <p:txBody>
          <a:bodyPr/>
          <a:lstStyle/>
          <a:p>
            <a:fld id="{76F3F801-6EA6-4A89-8185-92E2ADC6598D}" type="datetimeFigureOut">
              <a:rPr lang="sv-SE" smtClean="0"/>
              <a:t>2022-08-01</a:t>
            </a:fld>
            <a:endParaRPr lang="sv-SE"/>
          </a:p>
        </p:txBody>
      </p:sp>
      <p:sp>
        <p:nvSpPr>
          <p:cNvPr id="6" name="Platshållare för sidfot 5">
            <a:extLst>
              <a:ext uri="{FF2B5EF4-FFF2-40B4-BE49-F238E27FC236}">
                <a16:creationId xmlns:a16="http://schemas.microsoft.com/office/drawing/2014/main" id="{5EB0ACC6-C735-4952-A60E-8F853F1079EA}"/>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A67BB89C-E804-48D5-B5CD-AB293C97397F}"/>
              </a:ext>
            </a:extLst>
          </p:cNvPr>
          <p:cNvSpPr>
            <a:spLocks noGrp="1"/>
          </p:cNvSpPr>
          <p:nvPr>
            <p:ph type="sldNum" sz="quarter" idx="12"/>
          </p:nvPr>
        </p:nvSpPr>
        <p:spPr/>
        <p:txBody>
          <a:bodyPr/>
          <a:lstStyle/>
          <a:p>
            <a:fld id="{A50E5D45-2219-4B91-9274-756F2972603F}" type="slidenum">
              <a:rPr lang="sv-SE" smtClean="0"/>
              <a:t>‹#›</a:t>
            </a:fld>
            <a:endParaRPr lang="sv-SE"/>
          </a:p>
        </p:txBody>
      </p:sp>
    </p:spTree>
    <p:extLst>
      <p:ext uri="{BB962C8B-B14F-4D97-AF65-F5344CB8AC3E}">
        <p14:creationId xmlns:p14="http://schemas.microsoft.com/office/powerpoint/2010/main" val="75790456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C396D54-E766-4C39-8CA2-35213E7B251D}"/>
              </a:ext>
            </a:extLst>
          </p:cNvPr>
          <p:cNvSpPr>
            <a:spLocks noGrp="1"/>
          </p:cNvSpPr>
          <p:nvPr>
            <p:ph type="title"/>
          </p:nvPr>
        </p:nvSpPr>
        <p:spPr>
          <a:xfrm>
            <a:off x="839788" y="457200"/>
            <a:ext cx="3932237" cy="1600200"/>
          </a:xfrm>
        </p:spPr>
        <p:txBody>
          <a:bodyPr anchor="b"/>
          <a:lstStyle>
            <a:lvl1pPr>
              <a:defRPr sz="3200"/>
            </a:lvl1pPr>
          </a:lstStyle>
          <a:p>
            <a:r>
              <a:rPr lang="sv-SE"/>
              <a:t>Klicka här för att ändra mall för rubrikformat</a:t>
            </a:r>
          </a:p>
        </p:txBody>
      </p:sp>
      <p:sp>
        <p:nvSpPr>
          <p:cNvPr id="3" name="Platshållare för bild 2">
            <a:extLst>
              <a:ext uri="{FF2B5EF4-FFF2-40B4-BE49-F238E27FC236}">
                <a16:creationId xmlns:a16="http://schemas.microsoft.com/office/drawing/2014/main" id="{E7431817-481A-4555-95DE-24BB74739D8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Platshållare för text 3">
            <a:extLst>
              <a:ext uri="{FF2B5EF4-FFF2-40B4-BE49-F238E27FC236}">
                <a16:creationId xmlns:a16="http://schemas.microsoft.com/office/drawing/2014/main" id="{6E1C9B68-E401-49DB-BAA1-33D9921C4C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534DC6A8-9933-4599-9B43-DD46B30B1E7D}"/>
              </a:ext>
            </a:extLst>
          </p:cNvPr>
          <p:cNvSpPr>
            <a:spLocks noGrp="1"/>
          </p:cNvSpPr>
          <p:nvPr>
            <p:ph type="dt" sz="half" idx="10"/>
          </p:nvPr>
        </p:nvSpPr>
        <p:spPr/>
        <p:txBody>
          <a:bodyPr/>
          <a:lstStyle/>
          <a:p>
            <a:fld id="{76F3F801-6EA6-4A89-8185-92E2ADC6598D}" type="datetimeFigureOut">
              <a:rPr lang="sv-SE" smtClean="0"/>
              <a:t>2022-08-01</a:t>
            </a:fld>
            <a:endParaRPr lang="sv-SE"/>
          </a:p>
        </p:txBody>
      </p:sp>
      <p:sp>
        <p:nvSpPr>
          <p:cNvPr id="6" name="Platshållare för sidfot 5">
            <a:extLst>
              <a:ext uri="{FF2B5EF4-FFF2-40B4-BE49-F238E27FC236}">
                <a16:creationId xmlns:a16="http://schemas.microsoft.com/office/drawing/2014/main" id="{8D7721CC-A7CD-47C2-8770-126DF7240033}"/>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E435CACE-A7A8-4F5B-ADD0-69B85926F2F6}"/>
              </a:ext>
            </a:extLst>
          </p:cNvPr>
          <p:cNvSpPr>
            <a:spLocks noGrp="1"/>
          </p:cNvSpPr>
          <p:nvPr>
            <p:ph type="sldNum" sz="quarter" idx="12"/>
          </p:nvPr>
        </p:nvSpPr>
        <p:spPr/>
        <p:txBody>
          <a:bodyPr/>
          <a:lstStyle/>
          <a:p>
            <a:fld id="{A50E5D45-2219-4B91-9274-756F2972603F}" type="slidenum">
              <a:rPr lang="sv-SE" smtClean="0"/>
              <a:t>‹#›</a:t>
            </a:fld>
            <a:endParaRPr lang="sv-SE"/>
          </a:p>
        </p:txBody>
      </p:sp>
    </p:spTree>
    <p:extLst>
      <p:ext uri="{BB962C8B-B14F-4D97-AF65-F5344CB8AC3E}">
        <p14:creationId xmlns:p14="http://schemas.microsoft.com/office/powerpoint/2010/main" val="27396707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ECC862F-AA94-43C2-8E8A-1275E5F68AF4}"/>
              </a:ext>
            </a:extLst>
          </p:cNvPr>
          <p:cNvSpPr>
            <a:spLocks noGrp="1"/>
          </p:cNvSpPr>
          <p:nvPr>
            <p:ph type="title"/>
          </p:nvPr>
        </p:nvSpPr>
        <p:spPr/>
        <p:txBody>
          <a:bodyPr/>
          <a:lstStyle/>
          <a:p>
            <a:r>
              <a:rPr lang="sv-SE"/>
              <a:t>Klicka här för att ändra mall för rubrikformat</a:t>
            </a:r>
          </a:p>
        </p:txBody>
      </p:sp>
      <p:sp>
        <p:nvSpPr>
          <p:cNvPr id="3" name="Platshållare för lodrät text 2">
            <a:extLst>
              <a:ext uri="{FF2B5EF4-FFF2-40B4-BE49-F238E27FC236}">
                <a16:creationId xmlns:a16="http://schemas.microsoft.com/office/drawing/2014/main" id="{095C56C8-29EA-4645-9218-510CA44F052C}"/>
              </a:ext>
            </a:extLst>
          </p:cNvPr>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D83EE6D2-C518-418D-8E47-D40014D6E8F8}"/>
              </a:ext>
            </a:extLst>
          </p:cNvPr>
          <p:cNvSpPr>
            <a:spLocks noGrp="1"/>
          </p:cNvSpPr>
          <p:nvPr>
            <p:ph type="dt" sz="half" idx="10"/>
          </p:nvPr>
        </p:nvSpPr>
        <p:spPr/>
        <p:txBody>
          <a:bodyPr/>
          <a:lstStyle/>
          <a:p>
            <a:fld id="{76F3F801-6EA6-4A89-8185-92E2ADC6598D}" type="datetimeFigureOut">
              <a:rPr lang="sv-SE" smtClean="0"/>
              <a:t>2022-08-01</a:t>
            </a:fld>
            <a:endParaRPr lang="sv-SE"/>
          </a:p>
        </p:txBody>
      </p:sp>
      <p:sp>
        <p:nvSpPr>
          <p:cNvPr id="5" name="Platshållare för sidfot 4">
            <a:extLst>
              <a:ext uri="{FF2B5EF4-FFF2-40B4-BE49-F238E27FC236}">
                <a16:creationId xmlns:a16="http://schemas.microsoft.com/office/drawing/2014/main" id="{36756120-8090-4DEA-8D93-674CD9FCC89E}"/>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4A760034-0E26-4568-A93A-1D6FF3C7EC1C}"/>
              </a:ext>
            </a:extLst>
          </p:cNvPr>
          <p:cNvSpPr>
            <a:spLocks noGrp="1"/>
          </p:cNvSpPr>
          <p:nvPr>
            <p:ph type="sldNum" sz="quarter" idx="12"/>
          </p:nvPr>
        </p:nvSpPr>
        <p:spPr/>
        <p:txBody>
          <a:bodyPr/>
          <a:lstStyle/>
          <a:p>
            <a:fld id="{A50E5D45-2219-4B91-9274-756F2972603F}" type="slidenum">
              <a:rPr lang="sv-SE" smtClean="0"/>
              <a:t>‹#›</a:t>
            </a:fld>
            <a:endParaRPr lang="sv-SE"/>
          </a:p>
        </p:txBody>
      </p:sp>
    </p:spTree>
    <p:extLst>
      <p:ext uri="{BB962C8B-B14F-4D97-AF65-F5344CB8AC3E}">
        <p14:creationId xmlns:p14="http://schemas.microsoft.com/office/powerpoint/2010/main" val="180725176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a:extLst>
              <a:ext uri="{FF2B5EF4-FFF2-40B4-BE49-F238E27FC236}">
                <a16:creationId xmlns:a16="http://schemas.microsoft.com/office/drawing/2014/main" id="{58A91E08-7DB7-4878-86AE-AA49F7B7C56A}"/>
              </a:ext>
            </a:extLst>
          </p:cNvPr>
          <p:cNvSpPr>
            <a:spLocks noGrp="1"/>
          </p:cNvSpPr>
          <p:nvPr>
            <p:ph type="title" orient="vert"/>
          </p:nvPr>
        </p:nvSpPr>
        <p:spPr>
          <a:xfrm>
            <a:off x="8724900" y="365125"/>
            <a:ext cx="2628900" cy="5811838"/>
          </a:xfrm>
        </p:spPr>
        <p:txBody>
          <a:bodyPr vert="eaVert"/>
          <a:lstStyle/>
          <a:p>
            <a:r>
              <a:rPr lang="sv-SE"/>
              <a:t>Klicka här för att ändra mall för rubrikformat</a:t>
            </a:r>
          </a:p>
        </p:txBody>
      </p:sp>
      <p:sp>
        <p:nvSpPr>
          <p:cNvPr id="3" name="Platshållare för lodrät text 2">
            <a:extLst>
              <a:ext uri="{FF2B5EF4-FFF2-40B4-BE49-F238E27FC236}">
                <a16:creationId xmlns:a16="http://schemas.microsoft.com/office/drawing/2014/main" id="{BD7F2466-A0AC-4CF2-97FF-C01B9233956A}"/>
              </a:ext>
            </a:extLst>
          </p:cNvPr>
          <p:cNvSpPr>
            <a:spLocks noGrp="1"/>
          </p:cNvSpPr>
          <p:nvPr>
            <p:ph type="body" orient="vert" idx="1"/>
          </p:nvPr>
        </p:nvSpPr>
        <p:spPr>
          <a:xfrm>
            <a:off x="838200" y="365125"/>
            <a:ext cx="7734300" cy="5811838"/>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7DCC063C-2E94-454C-84F6-A23A59C02528}"/>
              </a:ext>
            </a:extLst>
          </p:cNvPr>
          <p:cNvSpPr>
            <a:spLocks noGrp="1"/>
          </p:cNvSpPr>
          <p:nvPr>
            <p:ph type="dt" sz="half" idx="10"/>
          </p:nvPr>
        </p:nvSpPr>
        <p:spPr/>
        <p:txBody>
          <a:bodyPr/>
          <a:lstStyle/>
          <a:p>
            <a:fld id="{76F3F801-6EA6-4A89-8185-92E2ADC6598D}" type="datetimeFigureOut">
              <a:rPr lang="sv-SE" smtClean="0"/>
              <a:t>2022-08-01</a:t>
            </a:fld>
            <a:endParaRPr lang="sv-SE"/>
          </a:p>
        </p:txBody>
      </p:sp>
      <p:sp>
        <p:nvSpPr>
          <p:cNvPr id="5" name="Platshållare för sidfot 4">
            <a:extLst>
              <a:ext uri="{FF2B5EF4-FFF2-40B4-BE49-F238E27FC236}">
                <a16:creationId xmlns:a16="http://schemas.microsoft.com/office/drawing/2014/main" id="{7E597937-9D16-4DE1-95B2-4E398286D679}"/>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62DA097C-0832-4428-922E-9389F8ED672A}"/>
              </a:ext>
            </a:extLst>
          </p:cNvPr>
          <p:cNvSpPr>
            <a:spLocks noGrp="1"/>
          </p:cNvSpPr>
          <p:nvPr>
            <p:ph type="sldNum" sz="quarter" idx="12"/>
          </p:nvPr>
        </p:nvSpPr>
        <p:spPr/>
        <p:txBody>
          <a:bodyPr/>
          <a:lstStyle/>
          <a:p>
            <a:fld id="{A50E5D45-2219-4B91-9274-756F2972603F}" type="slidenum">
              <a:rPr lang="sv-SE" smtClean="0"/>
              <a:t>‹#›</a:t>
            </a:fld>
            <a:endParaRPr lang="sv-SE"/>
          </a:p>
        </p:txBody>
      </p:sp>
    </p:spTree>
    <p:extLst>
      <p:ext uri="{BB962C8B-B14F-4D97-AF65-F5344CB8AC3E}">
        <p14:creationId xmlns:p14="http://schemas.microsoft.com/office/powerpoint/2010/main" val="20572961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B558C-6550-41CF-A50A-E507A1BCCE82}"/>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9A26F1C-C00A-4960-9FB1-127E51AC9984}"/>
              </a:ext>
            </a:extLst>
          </p:cNvPr>
          <p:cNvSpPr>
            <a:spLocks noGrp="1"/>
          </p:cNvSpPr>
          <p:nvPr>
            <p:ph type="dt" sz="half" idx="10"/>
          </p:nvPr>
        </p:nvSpPr>
        <p:spPr/>
        <p:txBody>
          <a:bodyPr/>
          <a:lstStyle/>
          <a:p>
            <a:fld id="{2EFBDD21-3B9A-444C-B391-3A2426FE1562}" type="datetimeFigureOut">
              <a:rPr lang="en-GB" smtClean="0"/>
              <a:t>01/08/2022</a:t>
            </a:fld>
            <a:endParaRPr lang="en-GB"/>
          </a:p>
        </p:txBody>
      </p:sp>
      <p:sp>
        <p:nvSpPr>
          <p:cNvPr id="4" name="Footer Placeholder 3">
            <a:extLst>
              <a:ext uri="{FF2B5EF4-FFF2-40B4-BE49-F238E27FC236}">
                <a16:creationId xmlns:a16="http://schemas.microsoft.com/office/drawing/2014/main" id="{E1EF2A15-5C64-4CC6-8CFC-EAACFF74031A}"/>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FC259776-2179-4209-BA0B-017E60201801}"/>
              </a:ext>
            </a:extLst>
          </p:cNvPr>
          <p:cNvSpPr>
            <a:spLocks noGrp="1"/>
          </p:cNvSpPr>
          <p:nvPr>
            <p:ph type="sldNum" sz="quarter" idx="12"/>
          </p:nvPr>
        </p:nvSpPr>
        <p:spPr/>
        <p:txBody>
          <a:bodyPr/>
          <a:lstStyle/>
          <a:p>
            <a:fld id="{55B96285-05FD-4992-919D-63CEE9F74ED4}" type="slidenum">
              <a:rPr lang="en-GB" smtClean="0"/>
              <a:t>‹#›</a:t>
            </a:fld>
            <a:endParaRPr lang="en-GB"/>
          </a:p>
        </p:txBody>
      </p:sp>
    </p:spTree>
    <p:extLst>
      <p:ext uri="{BB962C8B-B14F-4D97-AF65-F5344CB8AC3E}">
        <p14:creationId xmlns:p14="http://schemas.microsoft.com/office/powerpoint/2010/main" val="9674215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2022</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25870711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Only">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05036"/>
            <a:ext cx="1482051" cy="153888"/>
          </a:xfrm>
          <a:prstGeom prst="rect">
            <a:avLst/>
          </a:prstGeom>
        </p:spPr>
        <p:txBody>
          <a:bodyPr/>
          <a:lstStyle>
            <a:lvl1pPr>
              <a:defRPr>
                <a:latin typeface="Calibri" panose="020F0502020204030204" pitchFamily="34" charset="0"/>
                <a:sym typeface="Calibri" panose="020F0502020204030204" pitchFamily="34" charset="0"/>
              </a:defRPr>
            </a:lvl1pPr>
          </a:lstStyle>
          <a:p>
            <a:endParaRPr lang="en-US" dirty="0">
              <a:solidFill>
                <a:srgbClr val="FFFFFF">
                  <a:lumMod val="50000"/>
                </a:srgbClr>
              </a:solidFill>
            </a:endParaRPr>
          </a:p>
        </p:txBody>
      </p:sp>
      <p:sp>
        <p:nvSpPr>
          <p:cNvPr id="6" name="FooterSimple" hidden="1"/>
          <p:cNvSpPr txBox="1"/>
          <p:nvPr userDrawn="1">
            <p:custDataLst>
              <p:tags r:id="rId2"/>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a:solidFill>
                  <a:srgbClr val="FFFFFF">
                    <a:lumMod val="50000"/>
                  </a:srgbClr>
                </a:solidFill>
                <a:cs typeface="Calibri" panose="020F0502020204030204" pitchFamily="34" charset="0"/>
                <a:sym typeface="Calibri" panose="020F0502020204030204" pitchFamily="34" charset="0"/>
              </a:rPr>
              <a:t>20180425 Endurance Day 2 v11_cs.pptx</a:t>
            </a:r>
          </a:p>
        </p:txBody>
      </p:sp>
      <p:sp>
        <p:nvSpPr>
          <p:cNvPr id="5" name="Title 4"/>
          <p:cNvSpPr>
            <a:spLocks noGrp="1"/>
          </p:cNvSpPr>
          <p:nvPr>
            <p:ph type="title" hasCustomPrompt="1"/>
          </p:nvPr>
        </p:nvSpPr>
        <p:spPr>
          <a:xfrm>
            <a:off x="630000" y="622800"/>
            <a:ext cx="109332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Calibri" panose="020F0502020204030204" pitchFamily="34" charset="0"/>
                <a:sym typeface="Calibri" panose="020F0502020204030204" pitchFamily="34" charset="0"/>
              </a:defRPr>
            </a:lvl1pPr>
          </a:lstStyle>
          <a:p>
            <a:pPr lvl="0"/>
            <a:r>
              <a:rPr lang="en-US" dirty="0"/>
              <a:t>Click to add title</a:t>
            </a:r>
          </a:p>
        </p:txBody>
      </p:sp>
      <p:pic>
        <p:nvPicPr>
          <p:cNvPr id="7" name="Picture 6" descr="colorStJo&amp;ProvLogo.png"/>
          <p:cNvPicPr>
            <a:picLocks noChangeAspect="1"/>
          </p:cNvPicPr>
          <p:nvPr userDrawn="1"/>
        </p:nvPicPr>
        <p:blipFill>
          <a:blip r:embed="rId6" cstate="screen">
            <a:extLst>
              <a:ext uri="{28A0092B-C50C-407E-A947-70E740481C1C}">
                <a14:useLocalDpi xmlns:a14="http://schemas.microsoft.com/office/drawing/2010/main"/>
              </a:ext>
            </a:extLst>
          </a:blip>
          <a:srcRect l="9271" t="13723" r="10120" b="12901"/>
          <a:stretch>
            <a:fillRect/>
          </a:stretch>
        </p:blipFill>
        <p:spPr>
          <a:xfrm>
            <a:off x="9627735" y="172450"/>
            <a:ext cx="2318031" cy="552121"/>
          </a:xfrm>
          <a:prstGeom prst="rect">
            <a:avLst/>
          </a:prstGeom>
        </p:spPr>
      </p:pic>
    </p:spTree>
    <p:extLst>
      <p:ext uri="{BB962C8B-B14F-4D97-AF65-F5344CB8AC3E}">
        <p14:creationId xmlns:p14="http://schemas.microsoft.com/office/powerpoint/2010/main" val="3655827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E90-F652-4B40-BD0B-1F8BC7EBCD06}"/>
              </a:ext>
            </a:extLst>
          </p:cNvPr>
          <p:cNvSpPr>
            <a:spLocks noGrp="1"/>
          </p:cNvSpPr>
          <p:nvPr>
            <p:ph type="ctrTitle"/>
          </p:nvPr>
        </p:nvSpPr>
        <p:spPr>
          <a:xfrm>
            <a:off x="854765" y="4209428"/>
            <a:ext cx="9144000" cy="601111"/>
          </a:xfrm>
        </p:spPr>
        <p:txBody>
          <a:bodyPr anchor="b">
            <a:normAutofit/>
          </a:bodyPr>
          <a:lstStyle>
            <a:lvl1pPr algn="l">
              <a:defRPr sz="360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61F7CE30-6632-4A18-9007-59691A06EF81}"/>
              </a:ext>
            </a:extLst>
          </p:cNvPr>
          <p:cNvSpPr>
            <a:spLocks noGrp="1"/>
          </p:cNvSpPr>
          <p:nvPr>
            <p:ph type="subTitle" idx="1"/>
          </p:nvPr>
        </p:nvSpPr>
        <p:spPr>
          <a:xfrm>
            <a:off x="854765" y="4843669"/>
            <a:ext cx="9144000" cy="466379"/>
          </a:xfrm>
        </p:spPr>
        <p:txBody>
          <a:bodyPr>
            <a:normAutofit/>
          </a:bodyPr>
          <a:lstStyle>
            <a:lvl1pPr marL="0" indent="0" algn="l">
              <a:buNone/>
              <a:defRPr sz="1800">
                <a:solidFill>
                  <a:srgbClr val="005EB8"/>
                </a:solidFill>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endParaRPr lang="en-GB" dirty="0"/>
          </a:p>
        </p:txBody>
      </p:sp>
      <p:pic>
        <p:nvPicPr>
          <p:cNvPr id="7" name="Picture 6" descr="A picture containing clipart&#10;&#10;Description generated with very high confidence">
            <a:extLst>
              <a:ext uri="{FF2B5EF4-FFF2-40B4-BE49-F238E27FC236}">
                <a16:creationId xmlns:a16="http://schemas.microsoft.com/office/drawing/2014/main" id="{18E0D45E-0B97-4E29-8499-AB2B710EB4A3}"/>
              </a:ext>
            </a:extLst>
          </p:cNvPr>
          <p:cNvPicPr>
            <a:picLocks noChangeAspect="1"/>
          </p:cNvPicPr>
          <p:nvPr userDrawn="1"/>
        </p:nvPicPr>
        <p:blipFill>
          <a:blip r:embed="rId2"/>
          <a:stretch>
            <a:fillRect/>
          </a:stretch>
        </p:blipFill>
        <p:spPr>
          <a:xfrm>
            <a:off x="10535750" y="365912"/>
            <a:ext cx="1308943" cy="528611"/>
          </a:xfrm>
          <a:prstGeom prst="rect">
            <a:avLst/>
          </a:prstGeom>
        </p:spPr>
      </p:pic>
      <p:sp>
        <p:nvSpPr>
          <p:cNvPr id="8" name="Text Box 4">
            <a:extLst>
              <a:ext uri="{FF2B5EF4-FFF2-40B4-BE49-F238E27FC236}">
                <a16:creationId xmlns:a16="http://schemas.microsoft.com/office/drawing/2014/main" id="{A426801C-6EF1-44D5-BB49-CF9B1BD26219}"/>
              </a:ext>
            </a:extLst>
          </p:cNvPr>
          <p:cNvSpPr txBox="1"/>
          <p:nvPr userDrawn="1"/>
        </p:nvSpPr>
        <p:spPr>
          <a:xfrm>
            <a:off x="4099560" y="5714168"/>
            <a:ext cx="3992880" cy="406400"/>
          </a:xfrm>
          <a:prstGeom prst="rect">
            <a:avLst/>
          </a:prstGeom>
          <a:solidFill>
            <a:schemeClr val="lt1"/>
          </a:solidFill>
          <a:ln w="6350">
            <a:noFill/>
          </a:ln>
        </p:spPr>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GB" sz="1800" dirty="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dirty="0">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9" name="Content Placeholder 16">
            <a:extLst>
              <a:ext uri="{FF2B5EF4-FFF2-40B4-BE49-F238E27FC236}">
                <a16:creationId xmlns:a16="http://schemas.microsoft.com/office/drawing/2014/main" id="{2E504B7B-6AD1-45D7-8AE3-FA3C863D3A2A}"/>
              </a:ext>
            </a:extLst>
          </p:cNvPr>
          <p:cNvPicPr>
            <a:picLocks noChangeAspect="1"/>
          </p:cNvPicPr>
          <p:nvPr userDrawn="1"/>
        </p:nvPicPr>
        <p:blipFill>
          <a:blip r:embed="rId3"/>
          <a:stretch>
            <a:fillRect/>
          </a:stretch>
        </p:blipFill>
        <p:spPr>
          <a:xfrm>
            <a:off x="2" y="6213679"/>
            <a:ext cx="12211879" cy="413293"/>
          </a:xfrm>
          <a:prstGeom prst="rect">
            <a:avLst/>
          </a:prstGeom>
        </p:spPr>
      </p:pic>
    </p:spTree>
    <p:extLst>
      <p:ext uri="{BB962C8B-B14F-4D97-AF65-F5344CB8AC3E}">
        <p14:creationId xmlns:p14="http://schemas.microsoft.com/office/powerpoint/2010/main" val="266915778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3" y="6372537"/>
            <a:ext cx="647363"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81"/>
            <a:ext cx="10641499"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7" y="1833143"/>
            <a:ext cx="106414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7" y="6333441"/>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spTree>
    <p:extLst>
      <p:ext uri="{BB962C8B-B14F-4D97-AF65-F5344CB8AC3E}">
        <p14:creationId xmlns:p14="http://schemas.microsoft.com/office/powerpoint/2010/main" val="38070073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EBCFC1C6-F402-4241-8738-ED8CAB5D5666}" type="datetimeFigureOut">
              <a:rPr lang="en-GB" smtClean="0">
                <a:solidFill>
                  <a:prstClr val="black">
                    <a:tint val="75000"/>
                  </a:prstClr>
                </a:solidFill>
              </a:rPr>
              <a:pPr/>
              <a:t>01/08/2022</a:t>
            </a:fld>
            <a:endParaRPr lang="en-GB"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GB"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DF1DEF99-DF03-4C58-8027-C057DD449E02}"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295219544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88C843-097B-4143-A3D5-F335BA3AEDB8}"/>
              </a:ext>
            </a:extLst>
          </p:cNvPr>
          <p:cNvSpPr>
            <a:spLocks noGrp="1"/>
          </p:cNvSpPr>
          <p:nvPr>
            <p:ph type="dt" sz="half" idx="10"/>
          </p:nvPr>
        </p:nvSpPr>
        <p:spPr/>
        <p:txBody>
          <a:bodyPr/>
          <a:lstStyle/>
          <a:p>
            <a:fld id="{9D3C82DF-B208-4BFB-8129-1A7D991E28C8}" type="datetimeFigureOut">
              <a:rPr lang="en-GB" smtClean="0"/>
              <a:t>01/08/2022</a:t>
            </a:fld>
            <a:endParaRPr lang="en-GB" dirty="0"/>
          </a:p>
        </p:txBody>
      </p:sp>
      <p:sp>
        <p:nvSpPr>
          <p:cNvPr id="3" name="Footer Placeholder 2">
            <a:extLst>
              <a:ext uri="{FF2B5EF4-FFF2-40B4-BE49-F238E27FC236}">
                <a16:creationId xmlns:a16="http://schemas.microsoft.com/office/drawing/2014/main" id="{A8C89CFF-5F37-4DEF-A5E6-FC5FC59F2E78}"/>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F6F81565-8E20-44CC-85E7-3F176F37F080}"/>
              </a:ext>
            </a:extLst>
          </p:cNvPr>
          <p:cNvSpPr>
            <a:spLocks noGrp="1"/>
          </p:cNvSpPr>
          <p:nvPr>
            <p:ph type="sldNum" sz="quarter" idx="12"/>
          </p:nvPr>
        </p:nvSpPr>
        <p:spPr/>
        <p:txBody>
          <a:bodyPr/>
          <a:lstStyle/>
          <a:p>
            <a:fld id="{836E2D9F-73BA-4EB5-960E-3617AFFCCA47}" type="slidenum">
              <a:rPr lang="en-GB" smtClean="0"/>
              <a:t>‹#›</a:t>
            </a:fld>
            <a:endParaRPr lang="en-GB" dirty="0"/>
          </a:p>
        </p:txBody>
      </p:sp>
    </p:spTree>
    <p:extLst>
      <p:ext uri="{BB962C8B-B14F-4D97-AF65-F5344CB8AC3E}">
        <p14:creationId xmlns:p14="http://schemas.microsoft.com/office/powerpoint/2010/main" val="27262790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674D86C0-FCD8-48FC-A800-5D2DBB9E072F}" type="datetimeFigureOut">
              <a:rPr lang="en-GB" smtClean="0"/>
              <a:t>01/08/2022</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190B6FA9-D8C9-4B59-8065-77DEFE53DB03}" type="slidenum">
              <a:rPr lang="en-GB" smtClean="0"/>
              <a:t>‹#›</a:t>
            </a:fld>
            <a:endParaRPr lang="en-GB" dirty="0"/>
          </a:p>
        </p:txBody>
      </p:sp>
    </p:spTree>
    <p:extLst>
      <p:ext uri="{BB962C8B-B14F-4D97-AF65-F5344CB8AC3E}">
        <p14:creationId xmlns:p14="http://schemas.microsoft.com/office/powerpoint/2010/main" val="24522016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Rubrik och text">
    <p:spTree>
      <p:nvGrpSpPr>
        <p:cNvPr id="1" name=""/>
        <p:cNvGrpSpPr/>
        <p:nvPr/>
      </p:nvGrpSpPr>
      <p:grpSpPr>
        <a:xfrm>
          <a:off x="0" y="0"/>
          <a:ext cx="0" cy="0"/>
          <a:chOff x="0" y="0"/>
          <a:chExt cx="0" cy="0"/>
        </a:xfrm>
      </p:grpSpPr>
      <p:sp>
        <p:nvSpPr>
          <p:cNvPr id="2" name="Rubrik 1"/>
          <p:cNvSpPr>
            <a:spLocks noGrp="1"/>
          </p:cNvSpPr>
          <p:nvPr>
            <p:ph type="title"/>
          </p:nvPr>
        </p:nvSpPr>
        <p:spPr>
          <a:xfrm>
            <a:off x="1296000" y="1411200"/>
            <a:ext cx="9696000" cy="648000"/>
          </a:xfrm>
        </p:spPr>
        <p:txBody>
          <a:bodyPr anchor="t"/>
          <a:lstStyle/>
          <a:p>
            <a:r>
              <a:rPr lang="sv-SE" dirty="0"/>
              <a:t>Klicka här för att ändra format</a:t>
            </a:r>
          </a:p>
        </p:txBody>
      </p:sp>
      <p:sp>
        <p:nvSpPr>
          <p:cNvPr id="4" name="Platshållare för datum 3"/>
          <p:cNvSpPr>
            <a:spLocks noGrp="1"/>
          </p:cNvSpPr>
          <p:nvPr>
            <p:ph type="dt" sz="half" idx="10"/>
          </p:nvPr>
        </p:nvSpPr>
        <p:spPr/>
        <p:txBody>
          <a:bodyPr/>
          <a:lstStyle/>
          <a:p>
            <a:endParaRPr lang="sv-SE"/>
          </a:p>
        </p:txBody>
      </p:sp>
      <p:sp>
        <p:nvSpPr>
          <p:cNvPr id="5" name="Platshållare för sidfot 4"/>
          <p:cNvSpPr>
            <a:spLocks noGrp="1"/>
          </p:cNvSpPr>
          <p:nvPr>
            <p:ph type="ftr" sz="quarter" idx="11"/>
          </p:nvPr>
        </p:nvSpPr>
        <p:spPr/>
        <p:txBody>
          <a:bodyPr/>
          <a:lstStyle>
            <a:lvl1pPr>
              <a:defRPr>
                <a:solidFill>
                  <a:schemeClr val="accent6"/>
                </a:solidFill>
              </a:defRPr>
            </a:lvl1pPr>
          </a:lstStyle>
          <a:p>
            <a:r>
              <a:rPr lang="sv-SE"/>
              <a:t>Kirurgisk vård, 20181010</a:t>
            </a:r>
            <a:endParaRPr lang="sv-SE" sz="600" b="0" dirty="0"/>
          </a:p>
        </p:txBody>
      </p:sp>
      <p:sp>
        <p:nvSpPr>
          <p:cNvPr id="6" name="Platshållare för bildnummer 5"/>
          <p:cNvSpPr>
            <a:spLocks noGrp="1"/>
          </p:cNvSpPr>
          <p:nvPr>
            <p:ph type="sldNum" sz="quarter" idx="12"/>
          </p:nvPr>
        </p:nvSpPr>
        <p:spPr/>
        <p:txBody>
          <a:bodyPr/>
          <a:lstStyle/>
          <a:p>
            <a:fld id="{6F44378D-1D2D-4DB9-B9D8-A6B719AA0047}" type="slidenum">
              <a:rPr lang="sv-SE" smtClean="0"/>
              <a:t>‹#›</a:t>
            </a:fld>
            <a:endParaRPr lang="sv-SE"/>
          </a:p>
        </p:txBody>
      </p:sp>
      <p:sp>
        <p:nvSpPr>
          <p:cNvPr id="12" name="Platshållare för text 11"/>
          <p:cNvSpPr>
            <a:spLocks noGrp="1"/>
          </p:cNvSpPr>
          <p:nvPr>
            <p:ph type="body" sz="quarter" idx="14"/>
          </p:nvPr>
        </p:nvSpPr>
        <p:spPr>
          <a:xfrm>
            <a:off x="1295468" y="2782800"/>
            <a:ext cx="9696451" cy="2662424"/>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Tree>
    <p:extLst>
      <p:ext uri="{BB962C8B-B14F-4D97-AF65-F5344CB8AC3E}">
        <p14:creationId xmlns:p14="http://schemas.microsoft.com/office/powerpoint/2010/main" val="354366556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11"/>
          </p:nvPr>
        </p:nvSpPr>
        <p:spPr/>
        <p:txBody>
          <a:bodyPr/>
          <a:lstStyle/>
          <a:p>
            <a:endParaRPr lang="en-GB" dirty="0"/>
          </a:p>
        </p:txBody>
      </p:sp>
      <p:sp>
        <p:nvSpPr>
          <p:cNvPr id="8" name="Rectangle 7"/>
          <p:cNvSpPr/>
          <p:nvPr userDrawn="1"/>
        </p:nvSpPr>
        <p:spPr>
          <a:xfrm>
            <a:off x="0" y="6381328"/>
            <a:ext cx="2639616" cy="47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7" name="Slide Number Placeholder 6"/>
          <p:cNvSpPr>
            <a:spLocks noGrp="1"/>
          </p:cNvSpPr>
          <p:nvPr>
            <p:ph type="sldNum" sz="quarter" idx="12"/>
          </p:nvPr>
        </p:nvSpPr>
        <p:spPr/>
        <p:txBody>
          <a:bodyPr/>
          <a:lstStyle/>
          <a:p>
            <a:fld id="{DDCD950D-3FA8-43B0-B497-8718BB48DCEB}" type="slidenum">
              <a:rPr lang="en-GB" smtClean="0"/>
              <a:pPr/>
              <a:t>‹#›</a:t>
            </a:fld>
            <a:endParaRPr lang="en-GB" dirty="0"/>
          </a:p>
        </p:txBody>
      </p:sp>
    </p:spTree>
    <p:extLst>
      <p:ext uri="{BB962C8B-B14F-4D97-AF65-F5344CB8AC3E}">
        <p14:creationId xmlns:p14="http://schemas.microsoft.com/office/powerpoint/2010/main" val="341492709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Vit bakgrund - Rött Tema">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08406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A29FCDA-1F3C-4395-9633-085FCA5E594E}"/>
              </a:ext>
            </a:extLst>
          </p:cNvPr>
          <p:cNvSpPr>
            <a:spLocks noGrp="1"/>
          </p:cNvSpPr>
          <p:nvPr>
            <p:ph type="dt" sz="half" idx="10"/>
          </p:nvPr>
        </p:nvSpPr>
        <p:spPr/>
        <p:txBody>
          <a:bodyPr/>
          <a:lstStyle/>
          <a:p>
            <a:fld id="{2EFBDD21-3B9A-444C-B391-3A2426FE1562}" type="datetimeFigureOut">
              <a:rPr lang="en-GB" smtClean="0"/>
              <a:t>01/08/2022</a:t>
            </a:fld>
            <a:endParaRPr lang="en-GB"/>
          </a:p>
        </p:txBody>
      </p:sp>
      <p:sp>
        <p:nvSpPr>
          <p:cNvPr id="3" name="Footer Placeholder 2">
            <a:extLst>
              <a:ext uri="{FF2B5EF4-FFF2-40B4-BE49-F238E27FC236}">
                <a16:creationId xmlns:a16="http://schemas.microsoft.com/office/drawing/2014/main" id="{6EB83974-87E0-4B65-A2E5-F78FAA9626D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ADF3E5BA-7B5F-4381-87C1-B52F1E7F14D2}"/>
              </a:ext>
            </a:extLst>
          </p:cNvPr>
          <p:cNvSpPr>
            <a:spLocks noGrp="1"/>
          </p:cNvSpPr>
          <p:nvPr>
            <p:ph type="sldNum" sz="quarter" idx="12"/>
          </p:nvPr>
        </p:nvSpPr>
        <p:spPr/>
        <p:txBody>
          <a:bodyPr/>
          <a:lstStyle/>
          <a:p>
            <a:fld id="{55B96285-05FD-4992-919D-63CEE9F74ED4}" type="slidenum">
              <a:rPr lang="en-GB" smtClean="0"/>
              <a:t>‹#›</a:t>
            </a:fld>
            <a:endParaRPr lang="en-GB"/>
          </a:p>
        </p:txBody>
      </p:sp>
    </p:spTree>
    <p:extLst>
      <p:ext uri="{BB962C8B-B14F-4D97-AF65-F5344CB8AC3E}">
        <p14:creationId xmlns:p14="http://schemas.microsoft.com/office/powerpoint/2010/main" val="424052926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6" name="Slide Number Placeholder 5"/>
          <p:cNvSpPr>
            <a:spLocks noGrp="1"/>
          </p:cNvSpPr>
          <p:nvPr>
            <p:ph type="sldNum" sz="quarter" idx="12"/>
          </p:nvPr>
        </p:nvSpPr>
        <p:spPr/>
        <p:txBody>
          <a:bodyPr/>
          <a:lstStyle/>
          <a:p>
            <a:fld id="{DDCD950D-3FA8-43B0-B497-8718BB48DCEB}" type="slidenum">
              <a:rPr lang="en-GB" smtClean="0"/>
              <a:pPr/>
              <a:t>‹#›</a:t>
            </a:fld>
            <a:endParaRPr lang="en-GB" dirty="0"/>
          </a:p>
        </p:txBody>
      </p:sp>
    </p:spTree>
    <p:extLst>
      <p:ext uri="{BB962C8B-B14F-4D97-AF65-F5344CB8AC3E}">
        <p14:creationId xmlns:p14="http://schemas.microsoft.com/office/powerpoint/2010/main" val="72772046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3600" b="1">
                <a:ln>
                  <a:noFill/>
                </a:ln>
                <a:solidFill>
                  <a:srgbClr val="0070C0"/>
                </a:solidFill>
                <a:effectLst/>
                <a:latin typeface="+mn-lt"/>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lvl2pPr marL="914400" indent="-457200">
              <a:buFont typeface="Arial" panose="020B0604020202020204" pitchFamily="34" charset="0"/>
              <a:buChar char="•"/>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DDCD950D-3FA8-43B0-B497-8718BB48DCEB}" type="slidenum">
              <a:rPr lang="en-GB" smtClean="0"/>
              <a:pPr/>
              <a:t>‹#›</a:t>
            </a:fld>
            <a:endParaRPr lang="en-GB" dirty="0"/>
          </a:p>
        </p:txBody>
      </p:sp>
    </p:spTree>
    <p:extLst>
      <p:ext uri="{BB962C8B-B14F-4D97-AF65-F5344CB8AC3E}">
        <p14:creationId xmlns:p14="http://schemas.microsoft.com/office/powerpoint/2010/main" val="417897133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64EE8DA3-9BDD-4409-8740-EE1FE3C7FB95}" type="datetimeFigureOut">
              <a:rPr lang="en-GB" smtClean="0"/>
              <a:pPr/>
              <a:t>01/08/2022</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DDCD950D-3FA8-43B0-B497-8718BB48DCEB}" type="slidenum">
              <a:rPr lang="en-GB" smtClean="0"/>
              <a:pPr/>
              <a:t>‹#›</a:t>
            </a:fld>
            <a:endParaRPr lang="en-GB" dirty="0"/>
          </a:p>
        </p:txBody>
      </p:sp>
    </p:spTree>
    <p:extLst>
      <p:ext uri="{BB962C8B-B14F-4D97-AF65-F5344CB8AC3E}">
        <p14:creationId xmlns:p14="http://schemas.microsoft.com/office/powerpoint/2010/main" val="3077021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11"/>
          </p:nvPr>
        </p:nvSpPr>
        <p:spPr/>
        <p:txBody>
          <a:bodyPr/>
          <a:lstStyle/>
          <a:p>
            <a:endParaRPr lang="en-GB" dirty="0"/>
          </a:p>
        </p:txBody>
      </p:sp>
      <p:sp>
        <p:nvSpPr>
          <p:cNvPr id="8" name="Rectangle 7"/>
          <p:cNvSpPr/>
          <p:nvPr userDrawn="1"/>
        </p:nvSpPr>
        <p:spPr>
          <a:xfrm>
            <a:off x="0" y="6381328"/>
            <a:ext cx="2639616" cy="47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7" name="Slide Number Placeholder 6"/>
          <p:cNvSpPr>
            <a:spLocks noGrp="1"/>
          </p:cNvSpPr>
          <p:nvPr>
            <p:ph type="sldNum" sz="quarter" idx="12"/>
          </p:nvPr>
        </p:nvSpPr>
        <p:spPr/>
        <p:txBody>
          <a:bodyPr/>
          <a:lstStyle/>
          <a:p>
            <a:fld id="{DDCD950D-3FA8-43B0-B497-8718BB48DCEB}" type="slidenum">
              <a:rPr lang="en-GB" smtClean="0"/>
              <a:pPr/>
              <a:t>‹#›</a:t>
            </a:fld>
            <a:endParaRPr lang="en-GB" dirty="0"/>
          </a:p>
        </p:txBody>
      </p:sp>
    </p:spTree>
    <p:extLst>
      <p:ext uri="{BB962C8B-B14F-4D97-AF65-F5344CB8AC3E}">
        <p14:creationId xmlns:p14="http://schemas.microsoft.com/office/powerpoint/2010/main" val="18438621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a:xfrm>
            <a:off x="609600" y="6356351"/>
            <a:ext cx="2844800" cy="365125"/>
          </a:xfrm>
          <a:prstGeom prst="rect">
            <a:avLst/>
          </a:prstGeom>
        </p:spPr>
        <p:txBody>
          <a:bodyPr/>
          <a:lstStyle/>
          <a:p>
            <a:fld id="{64EE8DA3-9BDD-4409-8740-EE1FE3C7FB95}" type="datetimeFigureOut">
              <a:rPr lang="en-GB" smtClean="0"/>
              <a:pPr/>
              <a:t>01/08/2022</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DDCD950D-3FA8-43B0-B497-8718BB48DCEB}" type="slidenum">
              <a:rPr lang="en-GB" smtClean="0"/>
              <a:pPr/>
              <a:t>‹#›</a:t>
            </a:fld>
            <a:endParaRPr lang="en-GB" dirty="0"/>
          </a:p>
        </p:txBody>
      </p:sp>
    </p:spTree>
    <p:extLst>
      <p:ext uri="{BB962C8B-B14F-4D97-AF65-F5344CB8AC3E}">
        <p14:creationId xmlns:p14="http://schemas.microsoft.com/office/powerpoint/2010/main" val="176338333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609600" y="6356351"/>
            <a:ext cx="2844800" cy="365125"/>
          </a:xfrm>
          <a:prstGeom prst="rect">
            <a:avLst/>
          </a:prstGeom>
        </p:spPr>
        <p:txBody>
          <a:bodyPr/>
          <a:lstStyle/>
          <a:p>
            <a:fld id="{64EE8DA3-9BDD-4409-8740-EE1FE3C7FB95}" type="datetimeFigureOut">
              <a:rPr lang="en-GB" smtClean="0"/>
              <a:pPr/>
              <a:t>01/08/2022</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DDCD950D-3FA8-43B0-B497-8718BB48DCEB}" type="slidenum">
              <a:rPr lang="en-GB" smtClean="0"/>
              <a:pPr/>
              <a:t>‹#›</a:t>
            </a:fld>
            <a:endParaRPr lang="en-GB" dirty="0"/>
          </a:p>
        </p:txBody>
      </p:sp>
    </p:spTree>
    <p:extLst>
      <p:ext uri="{BB962C8B-B14F-4D97-AF65-F5344CB8AC3E}">
        <p14:creationId xmlns:p14="http://schemas.microsoft.com/office/powerpoint/2010/main" val="206483605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fld id="{64EE8DA3-9BDD-4409-8740-EE1FE3C7FB95}" type="datetimeFigureOut">
              <a:rPr lang="en-GB" smtClean="0"/>
              <a:pPr/>
              <a:t>01/08/2022</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DDCD950D-3FA8-43B0-B497-8718BB48DCEB}" type="slidenum">
              <a:rPr lang="en-GB" smtClean="0"/>
              <a:pPr/>
              <a:t>‹#›</a:t>
            </a:fld>
            <a:endParaRPr lang="en-GB" dirty="0"/>
          </a:p>
        </p:txBody>
      </p:sp>
    </p:spTree>
    <p:extLst>
      <p:ext uri="{BB962C8B-B14F-4D97-AF65-F5344CB8AC3E}">
        <p14:creationId xmlns:p14="http://schemas.microsoft.com/office/powerpoint/2010/main" val="257739609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fld id="{64EE8DA3-9BDD-4409-8740-EE1FE3C7FB95}" type="datetimeFigureOut">
              <a:rPr lang="en-GB" smtClean="0"/>
              <a:pPr/>
              <a:t>01/08/2022</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DDCD950D-3FA8-43B0-B497-8718BB48DCEB}" type="slidenum">
              <a:rPr lang="en-GB" smtClean="0"/>
              <a:pPr/>
              <a:t>‹#›</a:t>
            </a:fld>
            <a:endParaRPr lang="en-GB" dirty="0"/>
          </a:p>
        </p:txBody>
      </p:sp>
    </p:spTree>
    <p:extLst>
      <p:ext uri="{BB962C8B-B14F-4D97-AF65-F5344CB8AC3E}">
        <p14:creationId xmlns:p14="http://schemas.microsoft.com/office/powerpoint/2010/main" val="140745373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fld id="{64EE8DA3-9BDD-4409-8740-EE1FE3C7FB95}" type="datetimeFigureOut">
              <a:rPr lang="en-GB" smtClean="0"/>
              <a:pPr/>
              <a:t>01/08/2022</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DDCD950D-3FA8-43B0-B497-8718BB48DCEB}" type="slidenum">
              <a:rPr lang="en-GB" smtClean="0"/>
              <a:pPr/>
              <a:t>‹#›</a:t>
            </a:fld>
            <a:endParaRPr lang="en-GB" dirty="0"/>
          </a:p>
        </p:txBody>
      </p:sp>
    </p:spTree>
    <p:extLst>
      <p:ext uri="{BB962C8B-B14F-4D97-AF65-F5344CB8AC3E}">
        <p14:creationId xmlns:p14="http://schemas.microsoft.com/office/powerpoint/2010/main" val="42946370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DDCD950D-3FA8-43B0-B497-8718BB48DCEB}" type="slidenum">
              <a:rPr lang="en-GB" smtClean="0"/>
              <a:pPr/>
              <a:t>‹#›</a:t>
            </a:fld>
            <a:endParaRPr lang="en-GB" dirty="0"/>
          </a:p>
        </p:txBody>
      </p:sp>
    </p:spTree>
    <p:extLst>
      <p:ext uri="{BB962C8B-B14F-4D97-AF65-F5344CB8AC3E}">
        <p14:creationId xmlns:p14="http://schemas.microsoft.com/office/powerpoint/2010/main" val="13109191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16176-02D6-4D11-9070-25AC613D7E0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CFD6831E-033A-4579-A913-AD3B0EC546D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40881AA5-8688-420C-838F-B077B130AEA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BAD7E90-C7F3-40DE-9029-507850E9C5F4}"/>
              </a:ext>
            </a:extLst>
          </p:cNvPr>
          <p:cNvSpPr>
            <a:spLocks noGrp="1"/>
          </p:cNvSpPr>
          <p:nvPr>
            <p:ph type="dt" sz="half" idx="10"/>
          </p:nvPr>
        </p:nvSpPr>
        <p:spPr/>
        <p:txBody>
          <a:bodyPr/>
          <a:lstStyle/>
          <a:p>
            <a:fld id="{2EFBDD21-3B9A-444C-B391-3A2426FE1562}" type="datetimeFigureOut">
              <a:rPr lang="en-GB" smtClean="0"/>
              <a:t>01/08/2022</a:t>
            </a:fld>
            <a:endParaRPr lang="en-GB"/>
          </a:p>
        </p:txBody>
      </p:sp>
      <p:sp>
        <p:nvSpPr>
          <p:cNvPr id="6" name="Footer Placeholder 5">
            <a:extLst>
              <a:ext uri="{FF2B5EF4-FFF2-40B4-BE49-F238E27FC236}">
                <a16:creationId xmlns:a16="http://schemas.microsoft.com/office/drawing/2014/main" id="{A3C26542-7B40-4825-B967-17446A72078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0EC0B10-0507-4FB0-AD5A-1D3183B74BE2}"/>
              </a:ext>
            </a:extLst>
          </p:cNvPr>
          <p:cNvSpPr>
            <a:spLocks noGrp="1"/>
          </p:cNvSpPr>
          <p:nvPr>
            <p:ph type="sldNum" sz="quarter" idx="12"/>
          </p:nvPr>
        </p:nvSpPr>
        <p:spPr/>
        <p:txBody>
          <a:bodyPr/>
          <a:lstStyle/>
          <a:p>
            <a:fld id="{55B96285-05FD-4992-919D-63CEE9F74ED4}" type="slidenum">
              <a:rPr lang="en-GB" smtClean="0"/>
              <a:t>‹#›</a:t>
            </a:fld>
            <a:endParaRPr lang="en-GB"/>
          </a:p>
        </p:txBody>
      </p:sp>
    </p:spTree>
    <p:extLst>
      <p:ext uri="{BB962C8B-B14F-4D97-AF65-F5344CB8AC3E}">
        <p14:creationId xmlns:p14="http://schemas.microsoft.com/office/powerpoint/2010/main" val="175543976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64EE8DA3-9BDD-4409-8740-EE1FE3C7FB95}" type="datetimeFigureOut">
              <a:rPr lang="en-GB" smtClean="0"/>
              <a:pPr/>
              <a:t>01/08/2022</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DDCD950D-3FA8-43B0-B497-8718BB48DCEB}" type="slidenum">
              <a:rPr lang="en-GB" smtClean="0"/>
              <a:pPr/>
              <a:t>‹#›</a:t>
            </a:fld>
            <a:endParaRPr lang="en-GB" dirty="0"/>
          </a:p>
        </p:txBody>
      </p:sp>
    </p:spTree>
    <p:extLst>
      <p:ext uri="{BB962C8B-B14F-4D97-AF65-F5344CB8AC3E}">
        <p14:creationId xmlns:p14="http://schemas.microsoft.com/office/powerpoint/2010/main" val="8572442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4323" y="994349"/>
            <a:ext cx="10968076" cy="849101"/>
          </a:xfrm>
        </p:spPr>
        <p:txBody>
          <a:bodyPr/>
          <a:lstStyle/>
          <a:p>
            <a:r>
              <a:rPr lang="en-US" dirty="0"/>
              <a:t>Click to edit Master title</a:t>
            </a:r>
          </a:p>
        </p:txBody>
      </p:sp>
      <p:sp>
        <p:nvSpPr>
          <p:cNvPr id="3" name="Subtitle 2"/>
          <p:cNvSpPr>
            <a:spLocks noGrp="1"/>
          </p:cNvSpPr>
          <p:nvPr>
            <p:ph type="subTitle" idx="1"/>
          </p:nvPr>
        </p:nvSpPr>
        <p:spPr>
          <a:xfrm>
            <a:off x="614323" y="435095"/>
            <a:ext cx="10968077" cy="559252"/>
          </a:xfrm>
        </p:spPr>
        <p:txBody>
          <a:bodyPr>
            <a:normAutofit/>
          </a:bodyPr>
          <a:lstStyle>
            <a:lvl1pPr marL="0" indent="0" algn="l">
              <a:buNone/>
              <a:defRPr sz="200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a:t>
            </a:r>
          </a:p>
        </p:txBody>
      </p:sp>
      <p:sp>
        <p:nvSpPr>
          <p:cNvPr id="10" name="Text Placeholder 9"/>
          <p:cNvSpPr>
            <a:spLocks noGrp="1"/>
          </p:cNvSpPr>
          <p:nvPr>
            <p:ph type="body" sz="quarter" idx="10" hasCustomPrompt="1"/>
          </p:nvPr>
        </p:nvSpPr>
        <p:spPr>
          <a:xfrm>
            <a:off x="613832" y="1843618"/>
            <a:ext cx="10968567" cy="921553"/>
          </a:xfrm>
        </p:spPr>
        <p:txBody>
          <a:bodyPr>
            <a:normAutofit/>
          </a:bodyPr>
          <a:lstStyle>
            <a:lvl1pPr marL="0" indent="0">
              <a:buFontTx/>
              <a:buNone/>
              <a:defRPr sz="2000"/>
            </a:lvl1pPr>
          </a:lstStyle>
          <a:p>
            <a:pPr lvl="0"/>
            <a:r>
              <a:rPr lang="en-GB" dirty="0"/>
              <a:t>Click to edit further subtitle</a:t>
            </a:r>
          </a:p>
        </p:txBody>
      </p:sp>
      <p:sp>
        <p:nvSpPr>
          <p:cNvPr id="11" name="Rectangle 10"/>
          <p:cNvSpPr/>
          <p:nvPr userDrawn="1"/>
        </p:nvSpPr>
        <p:spPr>
          <a:xfrm>
            <a:off x="9779287" y="6583301"/>
            <a:ext cx="1803115" cy="274700"/>
          </a:xfrm>
          <a:prstGeom prst="rect">
            <a:avLst/>
          </a:prstGeom>
          <a:solidFill>
            <a:srgbClr val="FFA900"/>
          </a:solidFill>
          <a:ln w="9525" cap="flat" cmpd="sng" algn="ctr">
            <a:noFill/>
            <a:prstDash val="solid"/>
          </a:ln>
          <a:effectLst/>
        </p:spPr>
        <p:txBody>
          <a:bodyPr rtlCol="0" anchor="ctr"/>
          <a:lstStyle/>
          <a:p>
            <a:pPr algn="ctr"/>
            <a:r>
              <a:rPr lang="en-US" sz="900" baseline="0" dirty="0">
                <a:solidFill>
                  <a:schemeClr val="tx1">
                    <a:lumMod val="75000"/>
                  </a:schemeClr>
                </a:solidFill>
                <a:latin typeface="MetaNormalLF-Roman" panose="020B0502030000020004" pitchFamily="34" charset="0"/>
              </a:rPr>
              <a:t>Internal use only</a:t>
            </a:r>
          </a:p>
        </p:txBody>
      </p:sp>
    </p:spTree>
    <p:extLst>
      <p:ext uri="{BB962C8B-B14F-4D97-AF65-F5344CB8AC3E}">
        <p14:creationId xmlns:p14="http://schemas.microsoft.com/office/powerpoint/2010/main" val="325549640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Vit bakgrund - Rött Tema">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671236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EF388-EF26-4C18-8154-1C70039CE511}"/>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8EDC9D56-247E-4A63-93CD-FAA76525DF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BA3F9DF-8A5B-4ACD-AE08-B2E61E8D76F2}"/>
              </a:ext>
            </a:extLst>
          </p:cNvPr>
          <p:cNvSpPr>
            <a:spLocks noGrp="1"/>
          </p:cNvSpPr>
          <p:nvPr>
            <p:ph type="dt" sz="half" idx="10"/>
          </p:nvPr>
        </p:nvSpPr>
        <p:spPr/>
        <p:txBody>
          <a:bodyPr/>
          <a:lstStyle/>
          <a:p>
            <a:fld id="{70B50D20-AC9C-4CDB-856D-975C7F2EC48C}" type="datetimeFigureOut">
              <a:rPr lang="en-GB" smtClean="0"/>
              <a:t>01/08/2022</a:t>
            </a:fld>
            <a:endParaRPr lang="en-GB" dirty="0"/>
          </a:p>
        </p:txBody>
      </p:sp>
      <p:sp>
        <p:nvSpPr>
          <p:cNvPr id="5" name="Footer Placeholder 4">
            <a:extLst>
              <a:ext uri="{FF2B5EF4-FFF2-40B4-BE49-F238E27FC236}">
                <a16:creationId xmlns:a16="http://schemas.microsoft.com/office/drawing/2014/main" id="{5E4BAD3A-B40B-4963-B80A-D08AEAF5BED5}"/>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9F2AE6E-755F-4420-9207-55CA01D8A535}"/>
              </a:ext>
            </a:extLst>
          </p:cNvPr>
          <p:cNvSpPr>
            <a:spLocks noGrp="1"/>
          </p:cNvSpPr>
          <p:nvPr>
            <p:ph type="sldNum" sz="quarter" idx="12"/>
          </p:nvPr>
        </p:nvSpPr>
        <p:spPr/>
        <p:txBody>
          <a:bodyPr/>
          <a:lstStyle/>
          <a:p>
            <a:fld id="{5DB1A01A-4F98-4D0A-A4FB-2BF158659C5C}" type="slidenum">
              <a:rPr lang="en-GB" smtClean="0"/>
              <a:t>‹#›</a:t>
            </a:fld>
            <a:endParaRPr lang="en-GB" dirty="0"/>
          </a:p>
        </p:txBody>
      </p:sp>
    </p:spTree>
    <p:extLst>
      <p:ext uri="{BB962C8B-B14F-4D97-AF65-F5344CB8AC3E}">
        <p14:creationId xmlns:p14="http://schemas.microsoft.com/office/powerpoint/2010/main" val="123443755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ADBF1-E08C-46FB-8F9E-992FB85CBEE6}"/>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B382239-79A6-4E04-86A8-0CE1FAF3E0B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B76DC96-D85D-47A8-9A59-016191033D00}"/>
              </a:ext>
            </a:extLst>
          </p:cNvPr>
          <p:cNvSpPr>
            <a:spLocks noGrp="1"/>
          </p:cNvSpPr>
          <p:nvPr>
            <p:ph type="dt" sz="half" idx="10"/>
          </p:nvPr>
        </p:nvSpPr>
        <p:spPr/>
        <p:txBody>
          <a:bodyPr/>
          <a:lstStyle/>
          <a:p>
            <a:fld id="{70B50D20-AC9C-4CDB-856D-975C7F2EC48C}" type="datetimeFigureOut">
              <a:rPr lang="en-GB" smtClean="0"/>
              <a:t>01/08/2022</a:t>
            </a:fld>
            <a:endParaRPr lang="en-GB" dirty="0"/>
          </a:p>
        </p:txBody>
      </p:sp>
      <p:sp>
        <p:nvSpPr>
          <p:cNvPr id="5" name="Footer Placeholder 4">
            <a:extLst>
              <a:ext uri="{FF2B5EF4-FFF2-40B4-BE49-F238E27FC236}">
                <a16:creationId xmlns:a16="http://schemas.microsoft.com/office/drawing/2014/main" id="{48E81011-1F91-4A27-9B31-2793B5E08B00}"/>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507EBDC1-D129-4F8D-A670-B7306FED4DB0}"/>
              </a:ext>
            </a:extLst>
          </p:cNvPr>
          <p:cNvSpPr>
            <a:spLocks noGrp="1"/>
          </p:cNvSpPr>
          <p:nvPr>
            <p:ph type="sldNum" sz="quarter" idx="12"/>
          </p:nvPr>
        </p:nvSpPr>
        <p:spPr/>
        <p:txBody>
          <a:bodyPr/>
          <a:lstStyle/>
          <a:p>
            <a:fld id="{5DB1A01A-4F98-4D0A-A4FB-2BF158659C5C}" type="slidenum">
              <a:rPr lang="en-GB" smtClean="0"/>
              <a:t>‹#›</a:t>
            </a:fld>
            <a:endParaRPr lang="en-GB" dirty="0"/>
          </a:p>
        </p:txBody>
      </p:sp>
    </p:spTree>
    <p:extLst>
      <p:ext uri="{BB962C8B-B14F-4D97-AF65-F5344CB8AC3E}">
        <p14:creationId xmlns:p14="http://schemas.microsoft.com/office/powerpoint/2010/main" val="53073785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3EEDBA-7AC6-42E4-9A34-3FD6828ADCC6}"/>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0A05D70-1F60-470D-B6B5-50ECFF87293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6E3370B-D811-49FA-B286-1E6BF9A7715B}"/>
              </a:ext>
            </a:extLst>
          </p:cNvPr>
          <p:cNvSpPr>
            <a:spLocks noGrp="1"/>
          </p:cNvSpPr>
          <p:nvPr>
            <p:ph type="dt" sz="half" idx="10"/>
          </p:nvPr>
        </p:nvSpPr>
        <p:spPr/>
        <p:txBody>
          <a:bodyPr/>
          <a:lstStyle/>
          <a:p>
            <a:fld id="{70B50D20-AC9C-4CDB-856D-975C7F2EC48C}" type="datetimeFigureOut">
              <a:rPr lang="en-GB" smtClean="0"/>
              <a:t>01/08/2022</a:t>
            </a:fld>
            <a:endParaRPr lang="en-GB" dirty="0"/>
          </a:p>
        </p:txBody>
      </p:sp>
      <p:sp>
        <p:nvSpPr>
          <p:cNvPr id="5" name="Footer Placeholder 4">
            <a:extLst>
              <a:ext uri="{FF2B5EF4-FFF2-40B4-BE49-F238E27FC236}">
                <a16:creationId xmlns:a16="http://schemas.microsoft.com/office/drawing/2014/main" id="{1498C062-4034-44FB-98E4-CA52E01D2771}"/>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809AF351-EB53-49FB-86AA-B6C6A649364E}"/>
              </a:ext>
            </a:extLst>
          </p:cNvPr>
          <p:cNvSpPr>
            <a:spLocks noGrp="1"/>
          </p:cNvSpPr>
          <p:nvPr>
            <p:ph type="sldNum" sz="quarter" idx="12"/>
          </p:nvPr>
        </p:nvSpPr>
        <p:spPr/>
        <p:txBody>
          <a:bodyPr/>
          <a:lstStyle/>
          <a:p>
            <a:fld id="{5DB1A01A-4F98-4D0A-A4FB-2BF158659C5C}" type="slidenum">
              <a:rPr lang="en-GB" smtClean="0"/>
              <a:t>‹#›</a:t>
            </a:fld>
            <a:endParaRPr lang="en-GB" dirty="0"/>
          </a:p>
        </p:txBody>
      </p:sp>
    </p:spTree>
    <p:extLst>
      <p:ext uri="{BB962C8B-B14F-4D97-AF65-F5344CB8AC3E}">
        <p14:creationId xmlns:p14="http://schemas.microsoft.com/office/powerpoint/2010/main" val="374791027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86226-FD53-40A9-800E-A93CDA35546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03853BA-26CC-4FD6-9DA3-79BCFFC832B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317F6CAB-C508-4920-BDA4-E557D9531FF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31D1EB8-2E9A-4CAC-8140-B82F002C2A40}"/>
              </a:ext>
            </a:extLst>
          </p:cNvPr>
          <p:cNvSpPr>
            <a:spLocks noGrp="1"/>
          </p:cNvSpPr>
          <p:nvPr>
            <p:ph type="dt" sz="half" idx="10"/>
          </p:nvPr>
        </p:nvSpPr>
        <p:spPr/>
        <p:txBody>
          <a:bodyPr/>
          <a:lstStyle/>
          <a:p>
            <a:fld id="{70B50D20-AC9C-4CDB-856D-975C7F2EC48C}" type="datetimeFigureOut">
              <a:rPr lang="en-GB" smtClean="0"/>
              <a:t>01/08/2022</a:t>
            </a:fld>
            <a:endParaRPr lang="en-GB" dirty="0"/>
          </a:p>
        </p:txBody>
      </p:sp>
      <p:sp>
        <p:nvSpPr>
          <p:cNvPr id="6" name="Footer Placeholder 5">
            <a:extLst>
              <a:ext uri="{FF2B5EF4-FFF2-40B4-BE49-F238E27FC236}">
                <a16:creationId xmlns:a16="http://schemas.microsoft.com/office/drawing/2014/main" id="{D4AFD952-278B-4B55-B300-8635676221A8}"/>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07C92943-5476-4E7C-8339-8F5C9DB02116}"/>
              </a:ext>
            </a:extLst>
          </p:cNvPr>
          <p:cNvSpPr>
            <a:spLocks noGrp="1"/>
          </p:cNvSpPr>
          <p:nvPr>
            <p:ph type="sldNum" sz="quarter" idx="12"/>
          </p:nvPr>
        </p:nvSpPr>
        <p:spPr/>
        <p:txBody>
          <a:bodyPr/>
          <a:lstStyle/>
          <a:p>
            <a:fld id="{5DB1A01A-4F98-4D0A-A4FB-2BF158659C5C}" type="slidenum">
              <a:rPr lang="en-GB" smtClean="0"/>
              <a:t>‹#›</a:t>
            </a:fld>
            <a:endParaRPr lang="en-GB" dirty="0"/>
          </a:p>
        </p:txBody>
      </p:sp>
    </p:spTree>
    <p:extLst>
      <p:ext uri="{BB962C8B-B14F-4D97-AF65-F5344CB8AC3E}">
        <p14:creationId xmlns:p14="http://schemas.microsoft.com/office/powerpoint/2010/main" val="265630315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0926E-2031-44C7-8A3C-39E638D44C92}"/>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C60FF88-E32A-4939-9407-7752EF1E703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3126CD2-A754-46FF-91E9-CDF8FBD4E8B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A7B7EA2C-07E3-48A8-9BC9-44831ACC329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3B70186-AFB2-4180-8BC3-B3285F985CE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B93B9E4D-3F1C-41FD-9FED-6E93CC15F4E9}"/>
              </a:ext>
            </a:extLst>
          </p:cNvPr>
          <p:cNvSpPr>
            <a:spLocks noGrp="1"/>
          </p:cNvSpPr>
          <p:nvPr>
            <p:ph type="dt" sz="half" idx="10"/>
          </p:nvPr>
        </p:nvSpPr>
        <p:spPr/>
        <p:txBody>
          <a:bodyPr/>
          <a:lstStyle/>
          <a:p>
            <a:fld id="{70B50D20-AC9C-4CDB-856D-975C7F2EC48C}" type="datetimeFigureOut">
              <a:rPr lang="en-GB" smtClean="0"/>
              <a:t>01/08/2022</a:t>
            </a:fld>
            <a:endParaRPr lang="en-GB" dirty="0"/>
          </a:p>
        </p:txBody>
      </p:sp>
      <p:sp>
        <p:nvSpPr>
          <p:cNvPr id="8" name="Footer Placeholder 7">
            <a:extLst>
              <a:ext uri="{FF2B5EF4-FFF2-40B4-BE49-F238E27FC236}">
                <a16:creationId xmlns:a16="http://schemas.microsoft.com/office/drawing/2014/main" id="{0F2F525B-6CE4-46D4-A4CC-AF1795E1EC8D}"/>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27B9E5FE-6358-4A25-815B-7FA50947B105}"/>
              </a:ext>
            </a:extLst>
          </p:cNvPr>
          <p:cNvSpPr>
            <a:spLocks noGrp="1"/>
          </p:cNvSpPr>
          <p:nvPr>
            <p:ph type="sldNum" sz="quarter" idx="12"/>
          </p:nvPr>
        </p:nvSpPr>
        <p:spPr/>
        <p:txBody>
          <a:bodyPr/>
          <a:lstStyle/>
          <a:p>
            <a:fld id="{5DB1A01A-4F98-4D0A-A4FB-2BF158659C5C}" type="slidenum">
              <a:rPr lang="en-GB" smtClean="0"/>
              <a:t>‹#›</a:t>
            </a:fld>
            <a:endParaRPr lang="en-GB" dirty="0"/>
          </a:p>
        </p:txBody>
      </p:sp>
    </p:spTree>
    <p:extLst>
      <p:ext uri="{BB962C8B-B14F-4D97-AF65-F5344CB8AC3E}">
        <p14:creationId xmlns:p14="http://schemas.microsoft.com/office/powerpoint/2010/main" val="93189690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F4706-EE8A-4DB9-B2A2-EA4B5F18B69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B26FC87C-B24E-4DED-8659-D958EB3C3B43}"/>
              </a:ext>
            </a:extLst>
          </p:cNvPr>
          <p:cNvSpPr>
            <a:spLocks noGrp="1"/>
          </p:cNvSpPr>
          <p:nvPr>
            <p:ph type="dt" sz="half" idx="10"/>
          </p:nvPr>
        </p:nvSpPr>
        <p:spPr/>
        <p:txBody>
          <a:bodyPr/>
          <a:lstStyle/>
          <a:p>
            <a:fld id="{70B50D20-AC9C-4CDB-856D-975C7F2EC48C}" type="datetimeFigureOut">
              <a:rPr lang="en-GB" smtClean="0"/>
              <a:t>01/08/2022</a:t>
            </a:fld>
            <a:endParaRPr lang="en-GB" dirty="0"/>
          </a:p>
        </p:txBody>
      </p:sp>
      <p:sp>
        <p:nvSpPr>
          <p:cNvPr id="4" name="Footer Placeholder 3">
            <a:extLst>
              <a:ext uri="{FF2B5EF4-FFF2-40B4-BE49-F238E27FC236}">
                <a16:creationId xmlns:a16="http://schemas.microsoft.com/office/drawing/2014/main" id="{AD562960-19BE-427A-B1C6-44F6DB27A3B7}"/>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ED222F4F-8879-4746-A920-158D22261B0B}"/>
              </a:ext>
            </a:extLst>
          </p:cNvPr>
          <p:cNvSpPr>
            <a:spLocks noGrp="1"/>
          </p:cNvSpPr>
          <p:nvPr>
            <p:ph type="sldNum" sz="quarter" idx="12"/>
          </p:nvPr>
        </p:nvSpPr>
        <p:spPr/>
        <p:txBody>
          <a:bodyPr/>
          <a:lstStyle/>
          <a:p>
            <a:fld id="{5DB1A01A-4F98-4D0A-A4FB-2BF158659C5C}" type="slidenum">
              <a:rPr lang="en-GB" smtClean="0"/>
              <a:t>‹#›</a:t>
            </a:fld>
            <a:endParaRPr lang="en-GB" dirty="0"/>
          </a:p>
        </p:txBody>
      </p:sp>
    </p:spTree>
    <p:extLst>
      <p:ext uri="{BB962C8B-B14F-4D97-AF65-F5344CB8AC3E}">
        <p14:creationId xmlns:p14="http://schemas.microsoft.com/office/powerpoint/2010/main" val="42679600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D0D5B9E-A427-4B69-9D2A-1FBD7C78219C}"/>
              </a:ext>
            </a:extLst>
          </p:cNvPr>
          <p:cNvSpPr>
            <a:spLocks noGrp="1"/>
          </p:cNvSpPr>
          <p:nvPr>
            <p:ph type="dt" sz="half" idx="10"/>
          </p:nvPr>
        </p:nvSpPr>
        <p:spPr/>
        <p:txBody>
          <a:bodyPr/>
          <a:lstStyle/>
          <a:p>
            <a:fld id="{70B50D20-AC9C-4CDB-856D-975C7F2EC48C}" type="datetimeFigureOut">
              <a:rPr lang="en-GB" smtClean="0"/>
              <a:t>01/08/2022</a:t>
            </a:fld>
            <a:endParaRPr lang="en-GB" dirty="0"/>
          </a:p>
        </p:txBody>
      </p:sp>
      <p:sp>
        <p:nvSpPr>
          <p:cNvPr id="3" name="Footer Placeholder 2">
            <a:extLst>
              <a:ext uri="{FF2B5EF4-FFF2-40B4-BE49-F238E27FC236}">
                <a16:creationId xmlns:a16="http://schemas.microsoft.com/office/drawing/2014/main" id="{79FCA549-90FB-400B-89E1-8419E3293FCD}"/>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77AE84A1-C414-49F1-9019-562F1D71703A}"/>
              </a:ext>
            </a:extLst>
          </p:cNvPr>
          <p:cNvSpPr>
            <a:spLocks noGrp="1"/>
          </p:cNvSpPr>
          <p:nvPr>
            <p:ph type="sldNum" sz="quarter" idx="12"/>
          </p:nvPr>
        </p:nvSpPr>
        <p:spPr/>
        <p:txBody>
          <a:bodyPr/>
          <a:lstStyle/>
          <a:p>
            <a:fld id="{5DB1A01A-4F98-4D0A-A4FB-2BF158659C5C}" type="slidenum">
              <a:rPr lang="en-GB" smtClean="0"/>
              <a:t>‹#›</a:t>
            </a:fld>
            <a:endParaRPr lang="en-GB" dirty="0"/>
          </a:p>
        </p:txBody>
      </p:sp>
    </p:spTree>
    <p:extLst>
      <p:ext uri="{BB962C8B-B14F-4D97-AF65-F5344CB8AC3E}">
        <p14:creationId xmlns:p14="http://schemas.microsoft.com/office/powerpoint/2010/main" val="271466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DB3FF7-C1E1-49AD-92AD-FD920323F3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48B738C4-6E64-40D7-A564-7B3C35FE39D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66221B4-DD98-4B40-B959-4F221874222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1B20F6-433D-4EBB-9CD5-7376D2A22168}"/>
              </a:ext>
            </a:extLst>
          </p:cNvPr>
          <p:cNvSpPr>
            <a:spLocks noGrp="1"/>
          </p:cNvSpPr>
          <p:nvPr>
            <p:ph type="dt" sz="half" idx="10"/>
          </p:nvPr>
        </p:nvSpPr>
        <p:spPr/>
        <p:txBody>
          <a:bodyPr/>
          <a:lstStyle/>
          <a:p>
            <a:fld id="{2EFBDD21-3B9A-444C-B391-3A2426FE1562}" type="datetimeFigureOut">
              <a:rPr lang="en-GB" smtClean="0"/>
              <a:t>01/08/2022</a:t>
            </a:fld>
            <a:endParaRPr lang="en-GB"/>
          </a:p>
        </p:txBody>
      </p:sp>
      <p:sp>
        <p:nvSpPr>
          <p:cNvPr id="6" name="Footer Placeholder 5">
            <a:extLst>
              <a:ext uri="{FF2B5EF4-FFF2-40B4-BE49-F238E27FC236}">
                <a16:creationId xmlns:a16="http://schemas.microsoft.com/office/drawing/2014/main" id="{51FE9A12-F540-408A-AD9B-2E1AA6C8E30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ABD2699-F976-4B08-949A-FB7FB215C043}"/>
              </a:ext>
            </a:extLst>
          </p:cNvPr>
          <p:cNvSpPr>
            <a:spLocks noGrp="1"/>
          </p:cNvSpPr>
          <p:nvPr>
            <p:ph type="sldNum" sz="quarter" idx="12"/>
          </p:nvPr>
        </p:nvSpPr>
        <p:spPr/>
        <p:txBody>
          <a:bodyPr/>
          <a:lstStyle/>
          <a:p>
            <a:fld id="{55B96285-05FD-4992-919D-63CEE9F74ED4}" type="slidenum">
              <a:rPr lang="en-GB" smtClean="0"/>
              <a:t>‹#›</a:t>
            </a:fld>
            <a:endParaRPr lang="en-GB"/>
          </a:p>
        </p:txBody>
      </p:sp>
    </p:spTree>
    <p:extLst>
      <p:ext uri="{BB962C8B-B14F-4D97-AF65-F5344CB8AC3E}">
        <p14:creationId xmlns:p14="http://schemas.microsoft.com/office/powerpoint/2010/main" val="317261450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0A713F-BE7B-4A16-B912-9725CC32D6BF}"/>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AB919B4-6840-49A3-B3DF-3722CA9CB05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E95A8E4E-AB18-4785-B6D0-DD843E8200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1ABF944-A954-4F97-855A-5E7626CDB729}"/>
              </a:ext>
            </a:extLst>
          </p:cNvPr>
          <p:cNvSpPr>
            <a:spLocks noGrp="1"/>
          </p:cNvSpPr>
          <p:nvPr>
            <p:ph type="dt" sz="half" idx="10"/>
          </p:nvPr>
        </p:nvSpPr>
        <p:spPr/>
        <p:txBody>
          <a:bodyPr/>
          <a:lstStyle/>
          <a:p>
            <a:fld id="{70B50D20-AC9C-4CDB-856D-975C7F2EC48C}" type="datetimeFigureOut">
              <a:rPr lang="en-GB" smtClean="0"/>
              <a:t>01/08/2022</a:t>
            </a:fld>
            <a:endParaRPr lang="en-GB" dirty="0"/>
          </a:p>
        </p:txBody>
      </p:sp>
      <p:sp>
        <p:nvSpPr>
          <p:cNvPr id="6" name="Footer Placeholder 5">
            <a:extLst>
              <a:ext uri="{FF2B5EF4-FFF2-40B4-BE49-F238E27FC236}">
                <a16:creationId xmlns:a16="http://schemas.microsoft.com/office/drawing/2014/main" id="{FC77FC88-5606-4661-BE83-B3BFD352CFA2}"/>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FBB9E275-C580-410E-A5B9-0F613585ADC4}"/>
              </a:ext>
            </a:extLst>
          </p:cNvPr>
          <p:cNvSpPr>
            <a:spLocks noGrp="1"/>
          </p:cNvSpPr>
          <p:nvPr>
            <p:ph type="sldNum" sz="quarter" idx="12"/>
          </p:nvPr>
        </p:nvSpPr>
        <p:spPr/>
        <p:txBody>
          <a:bodyPr/>
          <a:lstStyle/>
          <a:p>
            <a:fld id="{5DB1A01A-4F98-4D0A-A4FB-2BF158659C5C}" type="slidenum">
              <a:rPr lang="en-GB" smtClean="0"/>
              <a:t>‹#›</a:t>
            </a:fld>
            <a:endParaRPr lang="en-GB" dirty="0"/>
          </a:p>
        </p:txBody>
      </p:sp>
    </p:spTree>
    <p:extLst>
      <p:ext uri="{BB962C8B-B14F-4D97-AF65-F5344CB8AC3E}">
        <p14:creationId xmlns:p14="http://schemas.microsoft.com/office/powerpoint/2010/main" val="222576694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87FF05-E8A3-43BE-9032-A03282085199}"/>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4A733DE6-52F3-4B13-93D4-7DE47E6E143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a:extLst>
              <a:ext uri="{FF2B5EF4-FFF2-40B4-BE49-F238E27FC236}">
                <a16:creationId xmlns:a16="http://schemas.microsoft.com/office/drawing/2014/main" id="{1D4876E4-F64E-4271-AC57-C9CAFDCAB3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58A016D-C361-4577-ACA1-1A8C8C93DF72}"/>
              </a:ext>
            </a:extLst>
          </p:cNvPr>
          <p:cNvSpPr>
            <a:spLocks noGrp="1"/>
          </p:cNvSpPr>
          <p:nvPr>
            <p:ph type="dt" sz="half" idx="10"/>
          </p:nvPr>
        </p:nvSpPr>
        <p:spPr/>
        <p:txBody>
          <a:bodyPr/>
          <a:lstStyle/>
          <a:p>
            <a:fld id="{70B50D20-AC9C-4CDB-856D-975C7F2EC48C}" type="datetimeFigureOut">
              <a:rPr lang="en-GB" smtClean="0"/>
              <a:t>01/08/2022</a:t>
            </a:fld>
            <a:endParaRPr lang="en-GB" dirty="0"/>
          </a:p>
        </p:txBody>
      </p:sp>
      <p:sp>
        <p:nvSpPr>
          <p:cNvPr id="6" name="Footer Placeholder 5">
            <a:extLst>
              <a:ext uri="{FF2B5EF4-FFF2-40B4-BE49-F238E27FC236}">
                <a16:creationId xmlns:a16="http://schemas.microsoft.com/office/drawing/2014/main" id="{AC03288C-DCD2-4999-930E-9B84E0F52AF8}"/>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C3B1694E-0026-41FC-9683-F64C06118E36}"/>
              </a:ext>
            </a:extLst>
          </p:cNvPr>
          <p:cNvSpPr>
            <a:spLocks noGrp="1"/>
          </p:cNvSpPr>
          <p:nvPr>
            <p:ph type="sldNum" sz="quarter" idx="12"/>
          </p:nvPr>
        </p:nvSpPr>
        <p:spPr/>
        <p:txBody>
          <a:bodyPr/>
          <a:lstStyle/>
          <a:p>
            <a:fld id="{5DB1A01A-4F98-4D0A-A4FB-2BF158659C5C}" type="slidenum">
              <a:rPr lang="en-GB" smtClean="0"/>
              <a:t>‹#›</a:t>
            </a:fld>
            <a:endParaRPr lang="en-GB" dirty="0"/>
          </a:p>
        </p:txBody>
      </p:sp>
    </p:spTree>
    <p:extLst>
      <p:ext uri="{BB962C8B-B14F-4D97-AF65-F5344CB8AC3E}">
        <p14:creationId xmlns:p14="http://schemas.microsoft.com/office/powerpoint/2010/main" val="355715456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2A4ED-9AB2-49AC-AAB9-707836E2F075}"/>
              </a:ext>
            </a:extLst>
          </p:cNvPr>
          <p:cNvSpPr>
            <a:spLocks noGrp="1"/>
          </p:cNvSpPr>
          <p:nvPr>
            <p:ph type="title"/>
          </p:nvPr>
        </p:nvSpPr>
        <p:spPr>
          <a:xfrm>
            <a:off x="838200" y="365125"/>
            <a:ext cx="10515600" cy="1325563"/>
          </a:xfrm>
          <a:prstGeom prst="rect">
            <a:avLst/>
          </a:prstGeom>
        </p:spPr>
        <p:txBody>
          <a:bodyPr>
            <a:normAutofit/>
          </a:bodyPr>
          <a:lstStyle>
            <a:lvl1pPr>
              <a:defRPr sz="4000" b="1">
                <a:solidFill>
                  <a:schemeClr val="accent1"/>
                </a:solidFill>
                <a:latin typeface="+mn-lt"/>
              </a:defRPr>
            </a:lvl1pPr>
          </a:lstStyle>
          <a:p>
            <a:r>
              <a:rPr lang="en-US" dirty="0"/>
              <a:t>Click to edit Master title style</a:t>
            </a:r>
            <a:endParaRPr lang="en-GB" dirty="0"/>
          </a:p>
        </p:txBody>
      </p:sp>
      <p:sp>
        <p:nvSpPr>
          <p:cNvPr id="3" name="Vertical Text Placeholder 2">
            <a:extLst>
              <a:ext uri="{FF2B5EF4-FFF2-40B4-BE49-F238E27FC236}">
                <a16:creationId xmlns:a16="http://schemas.microsoft.com/office/drawing/2014/main" id="{930A6F2E-20B8-42FF-B585-F2C068262B3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BA00161-4A23-4AA8-A9A1-5256F747037E}"/>
              </a:ext>
            </a:extLst>
          </p:cNvPr>
          <p:cNvSpPr>
            <a:spLocks noGrp="1"/>
          </p:cNvSpPr>
          <p:nvPr>
            <p:ph type="dt" sz="half" idx="10"/>
          </p:nvPr>
        </p:nvSpPr>
        <p:spPr/>
        <p:txBody>
          <a:bodyPr/>
          <a:lstStyle/>
          <a:p>
            <a:fld id="{70B50D20-AC9C-4CDB-856D-975C7F2EC48C}" type="datetimeFigureOut">
              <a:rPr lang="en-GB" smtClean="0"/>
              <a:t>01/08/2022</a:t>
            </a:fld>
            <a:endParaRPr lang="en-GB" dirty="0"/>
          </a:p>
        </p:txBody>
      </p:sp>
      <p:sp>
        <p:nvSpPr>
          <p:cNvPr id="5" name="Footer Placeholder 4">
            <a:extLst>
              <a:ext uri="{FF2B5EF4-FFF2-40B4-BE49-F238E27FC236}">
                <a16:creationId xmlns:a16="http://schemas.microsoft.com/office/drawing/2014/main" id="{48F36765-DF85-4497-B4E8-B1FC6B31C1B3}"/>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C23250BF-0FCD-40D3-966D-4410887F4FF4}"/>
              </a:ext>
            </a:extLst>
          </p:cNvPr>
          <p:cNvSpPr>
            <a:spLocks noGrp="1"/>
          </p:cNvSpPr>
          <p:nvPr>
            <p:ph type="sldNum" sz="quarter" idx="12"/>
          </p:nvPr>
        </p:nvSpPr>
        <p:spPr/>
        <p:txBody>
          <a:bodyPr/>
          <a:lstStyle/>
          <a:p>
            <a:fld id="{5DB1A01A-4F98-4D0A-A4FB-2BF158659C5C}" type="slidenum">
              <a:rPr lang="en-GB" smtClean="0"/>
              <a:t>‹#›</a:t>
            </a:fld>
            <a:endParaRPr lang="en-GB" dirty="0"/>
          </a:p>
        </p:txBody>
      </p:sp>
    </p:spTree>
    <p:extLst>
      <p:ext uri="{BB962C8B-B14F-4D97-AF65-F5344CB8AC3E}">
        <p14:creationId xmlns:p14="http://schemas.microsoft.com/office/powerpoint/2010/main" val="423928451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3FDA75B-2D6D-45F0-9FA0-04735721DE69}"/>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3B05FF9-AE5F-44E7-A26A-7B11FFB8FC4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0C629A9-026C-4193-A897-D702335B027D}"/>
              </a:ext>
            </a:extLst>
          </p:cNvPr>
          <p:cNvSpPr>
            <a:spLocks noGrp="1"/>
          </p:cNvSpPr>
          <p:nvPr>
            <p:ph type="dt" sz="half" idx="10"/>
          </p:nvPr>
        </p:nvSpPr>
        <p:spPr/>
        <p:txBody>
          <a:bodyPr/>
          <a:lstStyle/>
          <a:p>
            <a:fld id="{70B50D20-AC9C-4CDB-856D-975C7F2EC48C}" type="datetimeFigureOut">
              <a:rPr lang="en-GB" smtClean="0"/>
              <a:t>01/08/2022</a:t>
            </a:fld>
            <a:endParaRPr lang="en-GB" dirty="0"/>
          </a:p>
        </p:txBody>
      </p:sp>
      <p:sp>
        <p:nvSpPr>
          <p:cNvPr id="5" name="Footer Placeholder 4">
            <a:extLst>
              <a:ext uri="{FF2B5EF4-FFF2-40B4-BE49-F238E27FC236}">
                <a16:creationId xmlns:a16="http://schemas.microsoft.com/office/drawing/2014/main" id="{19AD4410-0971-4533-AFDF-D46B87126054}"/>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E6C07B27-4B1C-48F2-BBC5-95B37F5DCD81}"/>
              </a:ext>
            </a:extLst>
          </p:cNvPr>
          <p:cNvSpPr>
            <a:spLocks noGrp="1"/>
          </p:cNvSpPr>
          <p:nvPr>
            <p:ph type="sldNum" sz="quarter" idx="12"/>
          </p:nvPr>
        </p:nvSpPr>
        <p:spPr/>
        <p:txBody>
          <a:bodyPr/>
          <a:lstStyle/>
          <a:p>
            <a:fld id="{5DB1A01A-4F98-4D0A-A4FB-2BF158659C5C}" type="slidenum">
              <a:rPr lang="en-GB" smtClean="0"/>
              <a:t>‹#›</a:t>
            </a:fld>
            <a:endParaRPr lang="en-GB" dirty="0"/>
          </a:p>
        </p:txBody>
      </p:sp>
    </p:spTree>
    <p:extLst>
      <p:ext uri="{BB962C8B-B14F-4D97-AF65-F5344CB8AC3E}">
        <p14:creationId xmlns:p14="http://schemas.microsoft.com/office/powerpoint/2010/main" val="131290533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txBox="1">
            <a:spLocks noGrp="1"/>
          </p:cNvSpPr>
          <p:nvPr>
            <p:ph type="title"/>
          </p:nvPr>
        </p:nvSpPr>
        <p:spPr>
          <a:xfrm>
            <a:off x="838200" y="365125"/>
            <a:ext cx="10515600" cy="1325563"/>
          </a:xfrm>
          <a:prstGeom prst="rect">
            <a:avLst/>
          </a:prstGeom>
        </p:spPr>
        <p:txBody>
          <a:bodyPr/>
          <a:lstStyle>
            <a:lvl1pPr>
              <a:defRPr/>
            </a:lvl1pPr>
          </a:lstStyle>
          <a:p>
            <a:pPr lvl="0"/>
            <a:r>
              <a:rPr lang="en-US"/>
              <a:t>Click to edit Master title style</a:t>
            </a:r>
            <a:endParaRPr lang="en-GB"/>
          </a:p>
        </p:txBody>
      </p:sp>
      <p:sp>
        <p:nvSpPr>
          <p:cNvPr id="3" name="Text Placeholder 2"/>
          <p:cNvSpPr txBox="1">
            <a:spLocks noGrp="1"/>
          </p:cNvSpPr>
          <p:nvPr>
            <p:ph type="body"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txBox="1">
            <a:spLocks noGrp="1"/>
          </p:cNvSpPr>
          <p:nvPr>
            <p:ph type="dt" sz="half" idx="7"/>
          </p:nvPr>
        </p:nvSpPr>
        <p:spPr/>
        <p:txBody>
          <a:bodyPr/>
          <a:lstStyle>
            <a:lvl1pPr>
              <a:defRPr>
                <a:solidFill>
                  <a:srgbClr val="000000"/>
                </a:solidFill>
                <a:latin typeface="Gill Sans"/>
              </a:defRPr>
            </a:lvl1pPr>
          </a:lstStyle>
          <a:p>
            <a:fld id="{5C5AC8AC-F45B-41E2-8C7B-73E06D9B2334}" type="datetime1">
              <a:rPr lang="en-GB" smtClean="0"/>
              <a:pPr/>
              <a:t>01/08/2022</a:t>
            </a:fld>
            <a:endParaRPr lang="en-GB" dirty="0"/>
          </a:p>
        </p:txBody>
      </p:sp>
      <p:sp>
        <p:nvSpPr>
          <p:cNvPr id="5" name="Footer Placeholder 4"/>
          <p:cNvSpPr txBox="1">
            <a:spLocks noGrp="1"/>
          </p:cNvSpPr>
          <p:nvPr>
            <p:ph type="ftr" sz="quarter" idx="9"/>
          </p:nvPr>
        </p:nvSpPr>
        <p:spPr/>
        <p:txBody>
          <a:bodyPr/>
          <a:lstStyle>
            <a:lvl1pPr>
              <a:defRPr>
                <a:solidFill>
                  <a:srgbClr val="000000"/>
                </a:solidFill>
                <a:latin typeface="Gill Sans"/>
              </a:defRPr>
            </a:lvl1pPr>
          </a:lstStyle>
          <a:p>
            <a:endParaRPr lang="en-GB" dirty="0"/>
          </a:p>
        </p:txBody>
      </p:sp>
      <p:sp>
        <p:nvSpPr>
          <p:cNvPr id="6" name="Slide Number Placeholder 5"/>
          <p:cNvSpPr txBox="1">
            <a:spLocks noGrp="1"/>
          </p:cNvSpPr>
          <p:nvPr>
            <p:ph type="sldNum" sz="quarter" idx="8"/>
          </p:nvPr>
        </p:nvSpPr>
        <p:spPr/>
        <p:txBody>
          <a:bodyPr/>
          <a:lstStyle>
            <a:lvl1pPr>
              <a:defRPr>
                <a:solidFill>
                  <a:srgbClr val="000000"/>
                </a:solidFill>
                <a:latin typeface="Gill Sans"/>
              </a:defRPr>
            </a:lvl1pPr>
          </a:lstStyle>
          <a:p>
            <a:fld id="{2259F4E7-343F-4AB5-BD03-6DEEE3E095A0}" type="slidenum">
              <a:rPr/>
              <a:pPr/>
              <a:t>‹#›</a:t>
            </a:fld>
            <a:endParaRPr lang="en-GB" dirty="0"/>
          </a:p>
        </p:txBody>
      </p:sp>
    </p:spTree>
    <p:extLst>
      <p:ext uri="{BB962C8B-B14F-4D97-AF65-F5344CB8AC3E}">
        <p14:creationId xmlns:p14="http://schemas.microsoft.com/office/powerpoint/2010/main" val="1994792033"/>
      </p:ext>
    </p:extLst>
  </p:cSld>
  <p:clrMapOvr>
    <a:masterClrMapping/>
  </p:clrMapOvr>
  <p:transition spd="med">
    <p:fade/>
  </p:transition>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4.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48.xml"/><Relationship Id="rId1" Type="http://schemas.openxmlformats.org/officeDocument/2006/relationships/slideLayout" Target="../slideLayouts/slideLayout4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5" Type="http://schemas.openxmlformats.org/officeDocument/2006/relationships/slideLayout" Target="../slideLayouts/slideLayout66.xml"/><Relationship Id="rId4" Type="http://schemas.openxmlformats.org/officeDocument/2006/relationships/slideLayout" Target="../slideLayouts/slideLayout65.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theme" Target="../theme/theme9.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ED894E-DB33-4ECB-AA07-83BD18DBF16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593BD35-0634-4732-8BB1-607FA2AF2C2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1FBB7D6-D90E-4D02-9FA5-B5A6C631939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FBDD21-3B9A-444C-B391-3A2426FE1562}" type="datetimeFigureOut">
              <a:rPr lang="en-GB" smtClean="0"/>
              <a:t>01/08/2022</a:t>
            </a:fld>
            <a:endParaRPr lang="en-GB"/>
          </a:p>
        </p:txBody>
      </p:sp>
      <p:sp>
        <p:nvSpPr>
          <p:cNvPr id="5" name="Footer Placeholder 4">
            <a:extLst>
              <a:ext uri="{FF2B5EF4-FFF2-40B4-BE49-F238E27FC236}">
                <a16:creationId xmlns:a16="http://schemas.microsoft.com/office/drawing/2014/main" id="{C40C4A82-C2B4-43F9-9E0D-E49287A4A35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52F281F1-6040-4C47-BF2E-5BADD75F5B5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5B96285-05FD-4992-919D-63CEE9F74ED4}" type="slidenum">
              <a:rPr lang="en-GB" smtClean="0"/>
              <a:t>‹#›</a:t>
            </a:fld>
            <a:endParaRPr lang="en-GB"/>
          </a:p>
        </p:txBody>
      </p:sp>
    </p:spTree>
    <p:extLst>
      <p:ext uri="{BB962C8B-B14F-4D97-AF65-F5344CB8AC3E}">
        <p14:creationId xmlns:p14="http://schemas.microsoft.com/office/powerpoint/2010/main" val="396871046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9D5DEA-8A4C-4AFB-A2A3-A6826F25B4A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BE3868B-2216-4C25-BB2E-5D05EF91AF2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C2AA6F8-5161-4024-B699-D315DA1CB13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5228511-F1C4-4C73-9866-F0276843F2AD}" type="datetimeFigureOut">
              <a:rPr lang="en-GB" smtClean="0"/>
              <a:t>01/08/2022</a:t>
            </a:fld>
            <a:endParaRPr lang="en-GB"/>
          </a:p>
        </p:txBody>
      </p:sp>
      <p:sp>
        <p:nvSpPr>
          <p:cNvPr id="5" name="Footer Placeholder 4">
            <a:extLst>
              <a:ext uri="{FF2B5EF4-FFF2-40B4-BE49-F238E27FC236}">
                <a16:creationId xmlns:a16="http://schemas.microsoft.com/office/drawing/2014/main" id="{4A09ED83-2D3F-4B63-8EA7-9F9E4EA0489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DEBA101-464B-4186-9141-BD0DC54AB25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705FFB-4B25-4B2E-AF54-F86368903E9A}" type="slidenum">
              <a:rPr lang="en-GB" smtClean="0"/>
              <a:t>‹#›</a:t>
            </a:fld>
            <a:endParaRPr lang="en-GB"/>
          </a:p>
        </p:txBody>
      </p:sp>
    </p:spTree>
    <p:extLst>
      <p:ext uri="{BB962C8B-B14F-4D97-AF65-F5344CB8AC3E}">
        <p14:creationId xmlns:p14="http://schemas.microsoft.com/office/powerpoint/2010/main" val="173292675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09600" y="6356377"/>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B45DA19-3153-4C85-A95B-D831E9D17ED9}" type="datetimeFigureOut">
              <a:rPr lang="en-GB" smtClean="0"/>
              <a:t>01/08/2022</a:t>
            </a:fld>
            <a:endParaRPr lang="en-GB" dirty="0"/>
          </a:p>
        </p:txBody>
      </p:sp>
      <p:sp>
        <p:nvSpPr>
          <p:cNvPr id="5" name="Footer Placeholder 4"/>
          <p:cNvSpPr>
            <a:spLocks noGrp="1"/>
          </p:cNvSpPr>
          <p:nvPr>
            <p:ph type="ftr" sz="quarter" idx="3"/>
          </p:nvPr>
        </p:nvSpPr>
        <p:spPr>
          <a:xfrm>
            <a:off x="4165600" y="6356377"/>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8737600" y="6356377"/>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76A35DE-05B9-440F-9D3D-B070B0640952}" type="slidenum">
              <a:rPr lang="en-GB" smtClean="0"/>
              <a:t>‹#›</a:t>
            </a:fld>
            <a:endParaRPr lang="en-GB" dirty="0"/>
          </a:p>
        </p:txBody>
      </p:sp>
    </p:spTree>
    <p:extLst>
      <p:ext uri="{BB962C8B-B14F-4D97-AF65-F5344CB8AC3E}">
        <p14:creationId xmlns:p14="http://schemas.microsoft.com/office/powerpoint/2010/main" val="318607328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21BD682-2213-4E2E-8A2A-3FFBF1B84322}"/>
              </a:ext>
            </a:extLst>
          </p:cNvPr>
          <p:cNvSpPr>
            <a:spLocks noGrp="1"/>
          </p:cNvSpPr>
          <p:nvPr>
            <p:ph type="title"/>
          </p:nvPr>
        </p:nvSpPr>
        <p:spPr>
          <a:xfrm>
            <a:off x="838200" y="365125"/>
            <a:ext cx="10515600" cy="1325563"/>
          </a:xfrm>
          <a:prstGeom prst="rect">
            <a:avLst/>
          </a:prstGeom>
        </p:spPr>
        <p:txBody>
          <a:bodyPr vert="horz" lIns="91368" tIns="45718" rIns="91368" bIns="45718"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A9D1F6B-49D2-4D2C-A57F-867744C8ED72}"/>
              </a:ext>
            </a:extLst>
          </p:cNvPr>
          <p:cNvSpPr>
            <a:spLocks noGrp="1"/>
          </p:cNvSpPr>
          <p:nvPr>
            <p:ph type="body" idx="1"/>
          </p:nvPr>
        </p:nvSpPr>
        <p:spPr>
          <a:xfrm>
            <a:off x="838200" y="1825625"/>
            <a:ext cx="10515600" cy="4351339"/>
          </a:xfrm>
          <a:prstGeom prst="rect">
            <a:avLst/>
          </a:prstGeom>
        </p:spPr>
        <p:txBody>
          <a:bodyPr vert="horz" lIns="91368" tIns="45718" rIns="91368" bIns="45718"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35753AD-2C94-49B5-B57E-4DCB745805EE}"/>
              </a:ext>
            </a:extLst>
          </p:cNvPr>
          <p:cNvSpPr>
            <a:spLocks noGrp="1"/>
          </p:cNvSpPr>
          <p:nvPr>
            <p:ph type="dt" sz="half" idx="2"/>
          </p:nvPr>
        </p:nvSpPr>
        <p:spPr>
          <a:xfrm>
            <a:off x="838200" y="6356352"/>
            <a:ext cx="2743200" cy="365125"/>
          </a:xfrm>
          <a:prstGeom prst="rect">
            <a:avLst/>
          </a:prstGeom>
        </p:spPr>
        <p:txBody>
          <a:bodyPr vert="horz" lIns="91368" tIns="45718" rIns="91368" bIns="45718" rtlCol="0" anchor="ctr"/>
          <a:lstStyle>
            <a:lvl1pPr algn="l">
              <a:defRPr sz="1200">
                <a:solidFill>
                  <a:schemeClr val="tx1">
                    <a:tint val="75000"/>
                  </a:schemeClr>
                </a:solidFill>
              </a:defRPr>
            </a:lvl1pPr>
          </a:lstStyle>
          <a:p>
            <a:fld id="{BD62164E-7E37-4F72-A684-9FCF5A2AFB15}" type="datetimeFigureOut">
              <a:rPr lang="en-GB" smtClean="0"/>
              <a:t>01/08/2022</a:t>
            </a:fld>
            <a:endParaRPr lang="en-GB" dirty="0"/>
          </a:p>
        </p:txBody>
      </p:sp>
      <p:sp>
        <p:nvSpPr>
          <p:cNvPr id="5" name="Footer Placeholder 4">
            <a:extLst>
              <a:ext uri="{FF2B5EF4-FFF2-40B4-BE49-F238E27FC236}">
                <a16:creationId xmlns:a16="http://schemas.microsoft.com/office/drawing/2014/main" id="{9D75F815-F7CE-41C3-B33B-CA39F5302C96}"/>
              </a:ext>
            </a:extLst>
          </p:cNvPr>
          <p:cNvSpPr>
            <a:spLocks noGrp="1"/>
          </p:cNvSpPr>
          <p:nvPr>
            <p:ph type="ftr" sz="quarter" idx="3"/>
          </p:nvPr>
        </p:nvSpPr>
        <p:spPr>
          <a:xfrm>
            <a:off x="4038600" y="6356352"/>
            <a:ext cx="4114800" cy="365125"/>
          </a:xfrm>
          <a:prstGeom prst="rect">
            <a:avLst/>
          </a:prstGeom>
        </p:spPr>
        <p:txBody>
          <a:bodyPr vert="horz" lIns="91368" tIns="45718" rIns="91368" bIns="45718" rtlCol="0" anchor="ctr"/>
          <a:lstStyle>
            <a:lvl1pPr algn="ctr">
              <a:defRPr sz="12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47ABD417-7C20-42CB-96A0-54305180E787}"/>
              </a:ext>
            </a:extLst>
          </p:cNvPr>
          <p:cNvSpPr>
            <a:spLocks noGrp="1"/>
          </p:cNvSpPr>
          <p:nvPr>
            <p:ph type="sldNum" sz="quarter" idx="4"/>
          </p:nvPr>
        </p:nvSpPr>
        <p:spPr>
          <a:xfrm>
            <a:off x="8610600" y="6356352"/>
            <a:ext cx="2743200" cy="365125"/>
          </a:xfrm>
          <a:prstGeom prst="rect">
            <a:avLst/>
          </a:prstGeom>
        </p:spPr>
        <p:txBody>
          <a:bodyPr vert="horz" lIns="91368" tIns="45718" rIns="91368" bIns="45718" rtlCol="0" anchor="ctr"/>
          <a:lstStyle>
            <a:lvl1pPr algn="r">
              <a:defRPr sz="1200">
                <a:solidFill>
                  <a:schemeClr val="tx1">
                    <a:tint val="75000"/>
                  </a:schemeClr>
                </a:solidFill>
              </a:defRPr>
            </a:lvl1pPr>
          </a:lstStyle>
          <a:p>
            <a:fld id="{BF8502C5-DB21-415A-BB6D-27467C06A32D}" type="slidenum">
              <a:rPr lang="en-GB" smtClean="0"/>
              <a:t>‹#›</a:t>
            </a:fld>
            <a:endParaRPr lang="en-GB" dirty="0"/>
          </a:p>
        </p:txBody>
      </p:sp>
    </p:spTree>
    <p:extLst>
      <p:ext uri="{BB962C8B-B14F-4D97-AF65-F5344CB8AC3E}">
        <p14:creationId xmlns:p14="http://schemas.microsoft.com/office/powerpoint/2010/main" val="4083769633"/>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Lst>
  <p:txStyles>
    <p:titleStyle>
      <a:lvl1pPr algn="l" defTabSz="91358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408" indent="-228408" algn="l" defTabSz="91358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222" indent="-228408" algn="l" defTabSz="91358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1990" indent="-228408" algn="l" defTabSz="91358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8760" indent="-228408" algn="l" defTabSz="91358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5531" indent="-228408" algn="l" defTabSz="91358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12344" indent="-228408" algn="l" defTabSz="91358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69136" indent="-228408" algn="l" defTabSz="91358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5928" indent="-228408" algn="l" defTabSz="91358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2742" indent="-228408" algn="l" defTabSz="91358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3584" rtl="0" eaLnBrk="1" latinLnBrk="0" hangingPunct="1">
        <a:defRPr sz="1900" kern="1200">
          <a:solidFill>
            <a:schemeClr val="tx1"/>
          </a:solidFill>
          <a:latin typeface="+mn-lt"/>
          <a:ea typeface="+mn-ea"/>
          <a:cs typeface="+mn-cs"/>
        </a:defRPr>
      </a:lvl1pPr>
      <a:lvl2pPr marL="456771" algn="l" defTabSz="913584" rtl="0" eaLnBrk="1" latinLnBrk="0" hangingPunct="1">
        <a:defRPr sz="1900" kern="1200">
          <a:solidFill>
            <a:schemeClr val="tx1"/>
          </a:solidFill>
          <a:latin typeface="+mn-lt"/>
          <a:ea typeface="+mn-ea"/>
          <a:cs typeface="+mn-cs"/>
        </a:defRPr>
      </a:lvl2pPr>
      <a:lvl3pPr marL="913584" algn="l" defTabSz="913584" rtl="0" eaLnBrk="1" latinLnBrk="0" hangingPunct="1">
        <a:defRPr sz="1900" kern="1200">
          <a:solidFill>
            <a:schemeClr val="tx1"/>
          </a:solidFill>
          <a:latin typeface="+mn-lt"/>
          <a:ea typeface="+mn-ea"/>
          <a:cs typeface="+mn-cs"/>
        </a:defRPr>
      </a:lvl3pPr>
      <a:lvl4pPr marL="1370376" algn="l" defTabSz="913584" rtl="0" eaLnBrk="1" latinLnBrk="0" hangingPunct="1">
        <a:defRPr sz="1900" kern="1200">
          <a:solidFill>
            <a:schemeClr val="tx1"/>
          </a:solidFill>
          <a:latin typeface="+mn-lt"/>
          <a:ea typeface="+mn-ea"/>
          <a:cs typeface="+mn-cs"/>
        </a:defRPr>
      </a:lvl4pPr>
      <a:lvl5pPr marL="1827168" algn="l" defTabSz="913584" rtl="0" eaLnBrk="1" latinLnBrk="0" hangingPunct="1">
        <a:defRPr sz="1900" kern="1200">
          <a:solidFill>
            <a:schemeClr val="tx1"/>
          </a:solidFill>
          <a:latin typeface="+mn-lt"/>
          <a:ea typeface="+mn-ea"/>
          <a:cs typeface="+mn-cs"/>
        </a:defRPr>
      </a:lvl5pPr>
      <a:lvl6pPr marL="2283982" algn="l" defTabSz="913584" rtl="0" eaLnBrk="1" latinLnBrk="0" hangingPunct="1">
        <a:defRPr sz="1900" kern="1200">
          <a:solidFill>
            <a:schemeClr val="tx1"/>
          </a:solidFill>
          <a:latin typeface="+mn-lt"/>
          <a:ea typeface="+mn-ea"/>
          <a:cs typeface="+mn-cs"/>
        </a:defRPr>
      </a:lvl6pPr>
      <a:lvl7pPr marL="2740750" algn="l" defTabSz="913584" rtl="0" eaLnBrk="1" latinLnBrk="0" hangingPunct="1">
        <a:defRPr sz="1900" kern="1200">
          <a:solidFill>
            <a:schemeClr val="tx1"/>
          </a:solidFill>
          <a:latin typeface="+mn-lt"/>
          <a:ea typeface="+mn-ea"/>
          <a:cs typeface="+mn-cs"/>
        </a:defRPr>
      </a:lvl7pPr>
      <a:lvl8pPr marL="3197520" algn="l" defTabSz="913584" rtl="0" eaLnBrk="1" latinLnBrk="0" hangingPunct="1">
        <a:defRPr sz="1900" kern="1200">
          <a:solidFill>
            <a:schemeClr val="tx1"/>
          </a:solidFill>
          <a:latin typeface="+mn-lt"/>
          <a:ea typeface="+mn-ea"/>
          <a:cs typeface="+mn-cs"/>
        </a:defRPr>
      </a:lvl8pPr>
      <a:lvl9pPr marL="3654291" algn="l" defTabSz="91358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extBox 8"/>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 |</a:t>
            </a:r>
          </a:p>
        </p:txBody>
      </p:sp>
      <p:sp>
        <p:nvSpPr>
          <p:cNvPr id="10"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spTree>
    <p:extLst>
      <p:ext uri="{BB962C8B-B14F-4D97-AF65-F5344CB8AC3E}">
        <p14:creationId xmlns:p14="http://schemas.microsoft.com/office/powerpoint/2010/main" val="1006686542"/>
      </p:ext>
    </p:extLst>
  </p:cSld>
  <p:clrMap bg1="lt1" tx1="dk1" bg2="lt2" tx2="dk2" accent1="accent1" accent2="accent2" accent3="accent3" accent4="accent4" accent5="accent5" accent6="accent6" hlink="hlink" folHlink="folHlink"/>
  <p:sldLayoutIdLst>
    <p:sldLayoutId id="2147483699" r:id="rId1"/>
    <p:sldLayoutId id="2147483700" r:id="rId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E3DC6057-9242-4EAA-B85D-483F51ED93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1DFFE712-29B0-4949-A5C5-C98F252FE8B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365F3FEA-B58D-41A4-A7EF-D6C1EC6A595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F3F801-6EA6-4A89-8185-92E2ADC6598D}" type="datetimeFigureOut">
              <a:rPr lang="sv-SE" smtClean="0"/>
              <a:t>2022-08-01</a:t>
            </a:fld>
            <a:endParaRPr lang="sv-SE"/>
          </a:p>
        </p:txBody>
      </p:sp>
      <p:sp>
        <p:nvSpPr>
          <p:cNvPr id="5" name="Platshållare för sidfot 4">
            <a:extLst>
              <a:ext uri="{FF2B5EF4-FFF2-40B4-BE49-F238E27FC236}">
                <a16:creationId xmlns:a16="http://schemas.microsoft.com/office/drawing/2014/main" id="{4DD7AB4A-5F42-4FB7-B2DD-481368638B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300B1B03-898B-4A4A-A740-6AC26571E89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50E5D45-2219-4B91-9274-756F2972603F}" type="slidenum">
              <a:rPr lang="sv-SE" smtClean="0"/>
              <a:t>‹#›</a:t>
            </a:fld>
            <a:endParaRPr lang="sv-SE"/>
          </a:p>
        </p:txBody>
      </p:sp>
    </p:spTree>
    <p:extLst>
      <p:ext uri="{BB962C8B-B14F-4D97-AF65-F5344CB8AC3E}">
        <p14:creationId xmlns:p14="http://schemas.microsoft.com/office/powerpoint/2010/main" val="1415329887"/>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0C963A1-AC6C-45E8-9A5E-5724DC43F4BB}"/>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FE06ACFE-E4D6-411B-9ADC-FFC9D7DBBD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88DBF1BF-AB6C-4EA7-A16A-0C6C9EFA1301}"/>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CD3CFA-4DDC-43FC-968A-540737FDA836}" type="datetimeFigureOut">
              <a:rPr lang="en-GB" smtClean="0"/>
              <a:t>01/08/2022</a:t>
            </a:fld>
            <a:endParaRPr lang="en-GB" dirty="0"/>
          </a:p>
        </p:txBody>
      </p:sp>
      <p:sp>
        <p:nvSpPr>
          <p:cNvPr id="5" name="Footer Placeholder 4">
            <a:extLst>
              <a:ext uri="{FF2B5EF4-FFF2-40B4-BE49-F238E27FC236}">
                <a16:creationId xmlns:a16="http://schemas.microsoft.com/office/drawing/2014/main" id="{6F1E0E1F-777F-42FA-A4A2-320208497DF7}"/>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C91CC28B-BDF3-45C3-92FF-6562C624CA6B}"/>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0FC886-343C-4B72-AFE6-F0497CBE7873}" type="slidenum">
              <a:rPr lang="en-GB" smtClean="0"/>
              <a:t>‹#›</a:t>
            </a:fld>
            <a:endParaRPr lang="en-GB" dirty="0"/>
          </a:p>
        </p:txBody>
      </p:sp>
    </p:spTree>
    <p:extLst>
      <p:ext uri="{BB962C8B-B14F-4D97-AF65-F5344CB8AC3E}">
        <p14:creationId xmlns:p14="http://schemas.microsoft.com/office/powerpoint/2010/main" val="2734786200"/>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CD950D-3FA8-43B0-B497-8718BB48DCEB}" type="slidenum">
              <a:rPr lang="en-GB" smtClean="0"/>
              <a:pPr/>
              <a:t>‹#›</a:t>
            </a:fld>
            <a:endParaRPr lang="en-GB" dirty="0"/>
          </a:p>
        </p:txBody>
      </p:sp>
    </p:spTree>
    <p:extLst>
      <p:ext uri="{BB962C8B-B14F-4D97-AF65-F5344CB8AC3E}">
        <p14:creationId xmlns:p14="http://schemas.microsoft.com/office/powerpoint/2010/main" val="932802310"/>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43E963-9B45-4734-929F-9EA3B165ED5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7AA42BB4-98BA-4995-B964-5260E40BC88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65CB5DB-9364-4995-8987-97EC30C7844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0B50D20-AC9C-4CDB-856D-975C7F2EC48C}" type="datetimeFigureOut">
              <a:rPr lang="en-GB" smtClean="0"/>
              <a:t>01/08/2022</a:t>
            </a:fld>
            <a:endParaRPr lang="en-GB" dirty="0"/>
          </a:p>
        </p:txBody>
      </p:sp>
      <p:sp>
        <p:nvSpPr>
          <p:cNvPr id="5" name="Footer Placeholder 4">
            <a:extLst>
              <a:ext uri="{FF2B5EF4-FFF2-40B4-BE49-F238E27FC236}">
                <a16:creationId xmlns:a16="http://schemas.microsoft.com/office/drawing/2014/main" id="{E74C0E3F-AFC6-420C-897F-1302907D9A3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55715055-F429-4F80-9467-ACB4783FD2E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B1A01A-4F98-4D0A-A4FB-2BF158659C5C}" type="slidenum">
              <a:rPr lang="en-GB" smtClean="0"/>
              <a:t>‹#›</a:t>
            </a:fld>
            <a:endParaRPr lang="en-GB" dirty="0"/>
          </a:p>
        </p:txBody>
      </p:sp>
    </p:spTree>
    <p:extLst>
      <p:ext uri="{BB962C8B-B14F-4D97-AF65-F5344CB8AC3E}">
        <p14:creationId xmlns:p14="http://schemas.microsoft.com/office/powerpoint/2010/main" val="228569873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Lst>
  <p:txStyles>
    <p:titleStyle>
      <a:lvl1pPr algn="l" defTabSz="914400" rtl="0" eaLnBrk="1" latinLnBrk="0" hangingPunct="1">
        <a:lnSpc>
          <a:spcPct val="90000"/>
        </a:lnSpc>
        <a:spcBef>
          <a:spcPct val="0"/>
        </a:spcBef>
        <a:buNone/>
        <a:defRPr sz="40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6.xml"/></Relationships>
</file>

<file path=ppt/slides/_rels/slide12.xml.rels><?xml version="1.0" encoding="UTF-8" standalone="yes"?>
<Relationships xmlns="http://schemas.openxmlformats.org/package/2006/relationships"><Relationship Id="rId3" Type="http://schemas.openxmlformats.org/officeDocument/2006/relationships/hyperlink" Target="https://communitiesforimpact.org/" TargetMode="External"/><Relationship Id="rId2" Type="http://schemas.openxmlformats.org/officeDocument/2006/relationships/image" Target="../media/image25.png"/><Relationship Id="rId1" Type="http://schemas.openxmlformats.org/officeDocument/2006/relationships/slideLayout" Target="../slideLayouts/slideLayout75.xml"/></Relationships>
</file>

<file path=ppt/slides/_rels/slide13.xml.rels><?xml version="1.0" encoding="UTF-8" standalone="yes"?>
<Relationships xmlns="http://schemas.openxmlformats.org/package/2006/relationships"><Relationship Id="rId2" Type="http://schemas.openxmlformats.org/officeDocument/2006/relationships/hyperlink" Target="https://www.researchgate.net/publication/235356904_Sense_of_Community_A_Definition_and_Theory/link/59e65cc6aca2721fc227a799/download" TargetMode="Externa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hyperlink" Target="https://hbr.org/2015/10/we-need-both-networks-and-communities" TargetMode="External"/><Relationship Id="rId2" Type="http://schemas.openxmlformats.org/officeDocument/2006/relationships/image" Target="../media/image26.png"/><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3" Type="http://schemas.openxmlformats.org/officeDocument/2006/relationships/hyperlink" Target="https://blogs.lse.ac.uk/businessreview/2022/04/08/leading-change-post-pandemic/" TargetMode="External"/><Relationship Id="rId2" Type="http://schemas.openxmlformats.org/officeDocument/2006/relationships/image" Target="../media/image31.png"/><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48.xml"/><Relationship Id="rId5" Type="http://schemas.openxmlformats.org/officeDocument/2006/relationships/image" Target="../media/image8.pn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hyperlink" Target="https://anitasands.medium.com/diversity-and-inclusion-arent-what-matter-belonging-is-what-counts-4a75bf6565b5" TargetMode="External"/><Relationship Id="rId1" Type="http://schemas.openxmlformats.org/officeDocument/2006/relationships/slideLayout" Target="../slideLayouts/slideLayout76.xml"/></Relationships>
</file>

<file path=ppt/slides/_rels/slide2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71.xml"/></Relationships>
</file>

<file path=ppt/slides/_rels/slide22.xml.rels><?xml version="1.0" encoding="UTF-8" standalone="yes"?>
<Relationships xmlns="http://schemas.openxmlformats.org/package/2006/relationships"><Relationship Id="rId3" Type="http://schemas.openxmlformats.org/officeDocument/2006/relationships/hyperlink" Target="https://journals.sagepub.com/doi/10.1177/0149206310385943" TargetMode="External"/><Relationship Id="rId2" Type="http://schemas.openxmlformats.org/officeDocument/2006/relationships/image" Target="../media/image34.png"/><Relationship Id="rId1" Type="http://schemas.openxmlformats.org/officeDocument/2006/relationships/slideLayout" Target="../slideLayouts/slideLayout76.xml"/><Relationship Id="rId4" Type="http://schemas.openxmlformats.org/officeDocument/2006/relationships/hyperlink" Target="https://joshbersin.com/2020/08/why-belonging-is-a-big-issue-in-business-today/"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joshbersin.com/2020/08/why-belonging-is-a-big-issue-in-business-today/" TargetMode="External"/><Relationship Id="rId2" Type="http://schemas.openxmlformats.org/officeDocument/2006/relationships/image" Target="../media/image35.png"/><Relationship Id="rId1" Type="http://schemas.openxmlformats.org/officeDocument/2006/relationships/slideLayout" Target="../slideLayouts/slideLayout29.xml"/><Relationship Id="rId4" Type="http://schemas.openxmlformats.org/officeDocument/2006/relationships/hyperlink" Target="file:///C:\Users\bevanh\Desktop\Why%20belonging%20is%20such%20a%20big%20issue%20in%20business%20today%20(2020)%20Josh%20Bersin" TargetMode="External"/></Relationships>
</file>

<file path=ppt/slides/_rels/slide24.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71.xml"/></Relationships>
</file>

<file path=ppt/slides/_rels/slide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xml"/><Relationship Id="rId1" Type="http://schemas.openxmlformats.org/officeDocument/2006/relationships/slideLayout" Target="../slideLayouts/slideLayout71.xml"/><Relationship Id="rId4" Type="http://schemas.openxmlformats.org/officeDocument/2006/relationships/hyperlink" Target="http://www.landmarkspace.co.uk/wp-content/uploads/2021/03/2908_The_Human_Organisation_r1.pdf" TargetMode="External"/></Relationships>
</file>

<file path=ppt/slides/_rels/slide2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71.xml"/></Relationships>
</file>

<file path=ppt/slides/_rels/slide27.xml.rels><?xml version="1.0" encoding="UTF-8" standalone="yes"?>
<Relationships xmlns="http://schemas.openxmlformats.org/package/2006/relationships"><Relationship Id="rId8" Type="http://schemas.openxmlformats.org/officeDocument/2006/relationships/customXml" Target="../ink/ink4.xml"/><Relationship Id="rId13" Type="http://schemas.openxmlformats.org/officeDocument/2006/relationships/image" Target="../media/image380.png"/><Relationship Id="rId18" Type="http://schemas.openxmlformats.org/officeDocument/2006/relationships/customXml" Target="../ink/ink9.xml"/><Relationship Id="rId3" Type="http://schemas.openxmlformats.org/officeDocument/2006/relationships/image" Target="../media/image38.png"/><Relationship Id="rId21" Type="http://schemas.openxmlformats.org/officeDocument/2006/relationships/image" Target="../media/image42.png"/><Relationship Id="rId7" Type="http://schemas.openxmlformats.org/officeDocument/2006/relationships/image" Target="../media/image350.png"/><Relationship Id="rId12" Type="http://schemas.openxmlformats.org/officeDocument/2006/relationships/customXml" Target="../ink/ink6.xml"/><Relationship Id="rId17" Type="http://schemas.openxmlformats.org/officeDocument/2006/relationships/image" Target="../media/image40.png"/><Relationship Id="rId2" Type="http://schemas.openxmlformats.org/officeDocument/2006/relationships/hyperlink" Target="https://medium.com/together-institute/10-principles-for-healthy-communities-by-meg-wheatley-6466fe1d070d" TargetMode="External"/><Relationship Id="rId16" Type="http://schemas.openxmlformats.org/officeDocument/2006/relationships/customXml" Target="../ink/ink8.xml"/><Relationship Id="rId20" Type="http://schemas.openxmlformats.org/officeDocument/2006/relationships/customXml" Target="../ink/ink10.xml"/><Relationship Id="rId1" Type="http://schemas.openxmlformats.org/officeDocument/2006/relationships/slideLayout" Target="../slideLayouts/slideLayout2.xml"/><Relationship Id="rId6" Type="http://schemas.openxmlformats.org/officeDocument/2006/relationships/customXml" Target="../ink/ink3.xml"/><Relationship Id="rId11" Type="http://schemas.openxmlformats.org/officeDocument/2006/relationships/image" Target="../media/image370.png"/><Relationship Id="rId5" Type="http://schemas.openxmlformats.org/officeDocument/2006/relationships/image" Target="../media/image340.png"/><Relationship Id="rId15" Type="http://schemas.openxmlformats.org/officeDocument/2006/relationships/image" Target="../media/image39.png"/><Relationship Id="rId10" Type="http://schemas.openxmlformats.org/officeDocument/2006/relationships/customXml" Target="../ink/ink5.xml"/><Relationship Id="rId19" Type="http://schemas.openxmlformats.org/officeDocument/2006/relationships/image" Target="../media/image41.png"/><Relationship Id="rId4" Type="http://schemas.openxmlformats.org/officeDocument/2006/relationships/customXml" Target="../ink/ink2.xml"/><Relationship Id="rId9" Type="http://schemas.openxmlformats.org/officeDocument/2006/relationships/image" Target="../media/image36.png"/><Relationship Id="rId14" Type="http://schemas.openxmlformats.org/officeDocument/2006/relationships/customXml" Target="../ink/ink7.xml"/></Relationships>
</file>

<file path=ppt/slides/_rels/slide2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hyperlink" Target="https://sketchplanations.com/the-ikea-effect" TargetMode="Externa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8" Type="http://schemas.openxmlformats.org/officeDocument/2006/relationships/customXml" Target="../ink/ink13.xml"/><Relationship Id="rId13" Type="http://schemas.openxmlformats.org/officeDocument/2006/relationships/image" Target="../media/image380.png"/><Relationship Id="rId18" Type="http://schemas.openxmlformats.org/officeDocument/2006/relationships/customXml" Target="../ink/ink18.xml"/><Relationship Id="rId3" Type="http://schemas.openxmlformats.org/officeDocument/2006/relationships/image" Target="../media/image38.png"/><Relationship Id="rId21" Type="http://schemas.openxmlformats.org/officeDocument/2006/relationships/image" Target="../media/image42.png"/><Relationship Id="rId7" Type="http://schemas.openxmlformats.org/officeDocument/2006/relationships/image" Target="../media/image350.png"/><Relationship Id="rId12" Type="http://schemas.openxmlformats.org/officeDocument/2006/relationships/customXml" Target="../ink/ink15.xml"/><Relationship Id="rId17" Type="http://schemas.openxmlformats.org/officeDocument/2006/relationships/image" Target="../media/image40.png"/><Relationship Id="rId2" Type="http://schemas.openxmlformats.org/officeDocument/2006/relationships/hyperlink" Target="https://medium.com/together-institute/10-principles-for-healthy-communities-by-meg-wheatley-6466fe1d070d" TargetMode="External"/><Relationship Id="rId16" Type="http://schemas.openxmlformats.org/officeDocument/2006/relationships/customXml" Target="../ink/ink17.xml"/><Relationship Id="rId20" Type="http://schemas.openxmlformats.org/officeDocument/2006/relationships/customXml" Target="../ink/ink19.xml"/><Relationship Id="rId1" Type="http://schemas.openxmlformats.org/officeDocument/2006/relationships/slideLayout" Target="../slideLayouts/slideLayout2.xml"/><Relationship Id="rId6" Type="http://schemas.openxmlformats.org/officeDocument/2006/relationships/customXml" Target="../ink/ink12.xml"/><Relationship Id="rId11" Type="http://schemas.openxmlformats.org/officeDocument/2006/relationships/image" Target="../media/image370.png"/><Relationship Id="rId5" Type="http://schemas.openxmlformats.org/officeDocument/2006/relationships/image" Target="../media/image340.png"/><Relationship Id="rId15" Type="http://schemas.openxmlformats.org/officeDocument/2006/relationships/image" Target="../media/image39.png"/><Relationship Id="rId10" Type="http://schemas.openxmlformats.org/officeDocument/2006/relationships/customXml" Target="../ink/ink14.xml"/><Relationship Id="rId19" Type="http://schemas.openxmlformats.org/officeDocument/2006/relationships/image" Target="../media/image41.png"/><Relationship Id="rId4" Type="http://schemas.openxmlformats.org/officeDocument/2006/relationships/customXml" Target="../ink/ink11.xml"/><Relationship Id="rId9" Type="http://schemas.openxmlformats.org/officeDocument/2006/relationships/image" Target="../media/image36.png"/><Relationship Id="rId14" Type="http://schemas.openxmlformats.org/officeDocument/2006/relationships/customXml" Target="../ink/ink16.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0.xml"/></Relationships>
</file>

<file path=ppt/slides/_rels/slide3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31.xml.rels><?xml version="1.0" encoding="UTF-8" standalone="yes"?>
<Relationships xmlns="http://schemas.openxmlformats.org/package/2006/relationships"><Relationship Id="rId2" Type="http://schemas.openxmlformats.org/officeDocument/2006/relationships/hyperlink" Target="https://www.involve.org.uk/resources/publications/practical-guidance/deliberative-public-engagement-nine-principles" TargetMode="Externa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hyperlink" Target="https://www.involve.org.uk/resources/publications/practical-guidance/deliberative-public-engagement-nine-principles" TargetMode="Externa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6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4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hyperlink" Target="https://simonterry.com/2017/07/31/trust-is-precious/" TargetMode="External"/><Relationship Id="rId1" Type="http://schemas.openxmlformats.org/officeDocument/2006/relationships/slideLayout" Target="../slideLayouts/slideLayout13.xml"/><Relationship Id="rId4" Type="http://schemas.openxmlformats.org/officeDocument/2006/relationships/image" Target="../media/image54.png"/></Relationships>
</file>

<file path=ppt/slides/_rels/slide41.xml.rels><?xml version="1.0" encoding="UTF-8" standalone="yes"?>
<Relationships xmlns="http://schemas.openxmlformats.org/package/2006/relationships"><Relationship Id="rId3" Type="http://schemas.openxmlformats.org/officeDocument/2006/relationships/hyperlink" Target="http://www.liberatingstructures.com/" TargetMode="External"/><Relationship Id="rId2" Type="http://schemas.openxmlformats.org/officeDocument/2006/relationships/image" Target="../media/image55.jpeg"/><Relationship Id="rId1" Type="http://schemas.openxmlformats.org/officeDocument/2006/relationships/slideLayout" Target="../slideLayouts/slideLayout17.xml"/><Relationship Id="rId4" Type="http://schemas.openxmlformats.org/officeDocument/2006/relationships/image" Target="../media/image56.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customXml" Target="../ink/ink1.xml"/><Relationship Id="rId1" Type="http://schemas.openxmlformats.org/officeDocument/2006/relationships/slideLayout" Target="../slideLayouts/slideLayout52.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84.xml"/><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1.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408B0C4-2732-476F-8422-FE7BF7BFA0FE}"/>
              </a:ext>
            </a:extLst>
          </p:cNvPr>
          <p:cNvSpPr>
            <a:spLocks noGrp="1"/>
          </p:cNvSpPr>
          <p:nvPr>
            <p:ph type="ctrTitle"/>
          </p:nvPr>
        </p:nvSpPr>
        <p:spPr>
          <a:xfrm>
            <a:off x="1419225" y="1389063"/>
            <a:ext cx="9144000" cy="2387600"/>
          </a:xfrm>
        </p:spPr>
        <p:txBody>
          <a:bodyPr>
            <a:normAutofit fontScale="90000"/>
          </a:bodyPr>
          <a:lstStyle/>
          <a:p>
            <a:r>
              <a:rPr lang="en-GB" b="1" dirty="0">
                <a:latin typeface="+mn-lt"/>
              </a:rPr>
              <a:t>Principles for building community and engagement for large scale improvement</a:t>
            </a:r>
          </a:p>
        </p:txBody>
      </p:sp>
      <p:pic>
        <p:nvPicPr>
          <p:cNvPr id="4" name="Picture 3">
            <a:extLst>
              <a:ext uri="{FF2B5EF4-FFF2-40B4-BE49-F238E27FC236}">
                <a16:creationId xmlns:a16="http://schemas.microsoft.com/office/drawing/2014/main" id="{EA2A686A-D55D-491E-9BDF-05F1BD6C6CB5}"/>
              </a:ext>
            </a:extLst>
          </p:cNvPr>
          <p:cNvPicPr>
            <a:picLocks noChangeAspect="1"/>
          </p:cNvPicPr>
          <p:nvPr/>
        </p:nvPicPr>
        <p:blipFill>
          <a:blip r:embed="rId2"/>
          <a:stretch>
            <a:fillRect/>
          </a:stretch>
        </p:blipFill>
        <p:spPr>
          <a:xfrm>
            <a:off x="0" y="5824045"/>
            <a:ext cx="12192000" cy="696310"/>
          </a:xfrm>
          <a:prstGeom prst="rect">
            <a:avLst/>
          </a:prstGeom>
        </p:spPr>
      </p:pic>
    </p:spTree>
    <p:extLst>
      <p:ext uri="{BB962C8B-B14F-4D97-AF65-F5344CB8AC3E}">
        <p14:creationId xmlns:p14="http://schemas.microsoft.com/office/powerpoint/2010/main" val="5487018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a:extLst>
              <a:ext uri="{FF2B5EF4-FFF2-40B4-BE49-F238E27FC236}">
                <a16:creationId xmlns:a16="http://schemas.microsoft.com/office/drawing/2014/main" id="{9760D635-AB58-4B9C-8237-4D6B5E9529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2950" y="0"/>
            <a:ext cx="9796463"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45652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Free Speech bubble hand drawn 1195471 PNG with Transparent Background">
            <a:extLst>
              <a:ext uri="{FF2B5EF4-FFF2-40B4-BE49-F238E27FC236}">
                <a16:creationId xmlns:a16="http://schemas.microsoft.com/office/drawing/2014/main" id="{57D2C7D7-8F29-429C-A134-39B9BB35A22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3350" y="200901"/>
            <a:ext cx="12068175" cy="666936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FCC7004B-3E88-4604-8C77-DD4CB42571D4}"/>
              </a:ext>
            </a:extLst>
          </p:cNvPr>
          <p:cNvSpPr txBox="1"/>
          <p:nvPr/>
        </p:nvSpPr>
        <p:spPr>
          <a:xfrm rot="21113147">
            <a:off x="-159398" y="804096"/>
            <a:ext cx="11705926" cy="440120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LGcafeBold"/>
                <a:ea typeface="+mn-ea"/>
                <a:cs typeface="+mn-cs"/>
              </a:rPr>
              <a:t>When humans come together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LGcafeBold"/>
                <a:ea typeface="+mn-ea"/>
                <a:cs typeface="+mn-cs"/>
              </a:rPr>
              <a:t>build authentic relationships, magic happens. 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LGcafeBold"/>
                <a:ea typeface="+mn-ea"/>
                <a:cs typeface="+mn-cs"/>
              </a:rPr>
              <a:t>community exists to allow more magic to happen. It is abou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LGcafeBold"/>
                <a:ea typeface="+mn-ea"/>
                <a:cs typeface="+mn-cs"/>
              </a:rPr>
              <a:t>working with real human beings, each with their own story, histor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LGcafeBold"/>
                <a:ea typeface="+mn-ea"/>
                <a:cs typeface="+mn-cs"/>
              </a:rPr>
              <a:t>feelings, hopes and dreams. Ideally the community is as human as th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LGcafeBold"/>
                <a:ea typeface="+mn-ea"/>
                <a:cs typeface="+mn-cs"/>
              </a:rPr>
              <a:t>        people in it. We have no way of predicting which relationships will blossom and change the world. Serendipity creates many beautifu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LGcafeBold"/>
                <a:ea typeface="+mn-ea"/>
                <a:cs typeface="+mn-cs"/>
              </a:rPr>
              <a:t>                               encounters in a community. The ideal community find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LGcafeBold"/>
                <a:ea typeface="+mn-ea"/>
                <a:cs typeface="+mn-cs"/>
              </a:rPr>
              <a:t>                                            ways to create more serendipitous momen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LGcafeBold"/>
                <a:ea typeface="+mn-ea"/>
                <a:cs typeface="+mn-cs"/>
              </a:rPr>
              <a:t>                                                         for its members.</a:t>
            </a:r>
          </a:p>
        </p:txBody>
      </p:sp>
      <p:sp>
        <p:nvSpPr>
          <p:cNvPr id="8" name="TextBox 7">
            <a:extLst>
              <a:ext uri="{FF2B5EF4-FFF2-40B4-BE49-F238E27FC236}">
                <a16:creationId xmlns:a16="http://schemas.microsoft.com/office/drawing/2014/main" id="{C5F82517-9ADC-4271-B56B-993C8C64345B}"/>
              </a:ext>
            </a:extLst>
          </p:cNvPr>
          <p:cNvSpPr txBox="1"/>
          <p:nvPr/>
        </p:nvSpPr>
        <p:spPr>
          <a:xfrm>
            <a:off x="3098090" y="6072324"/>
            <a:ext cx="6804248"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black"/>
                </a:solidFill>
                <a:effectLst/>
                <a:uLnTx/>
                <a:uFillTx/>
                <a:latin typeface="Calibri"/>
                <a:ea typeface="+mn-ea"/>
                <a:cs typeface="+mn-cs"/>
              </a:rPr>
              <a:t>Fabian </a:t>
            </a:r>
            <a:r>
              <a:rPr kumimoji="0" lang="en-GB" sz="3200" b="0" i="0" u="none" strike="noStrike" kern="1200" cap="none" spc="0" normalizeH="0" baseline="0" noProof="0" dirty="0" err="1">
                <a:ln>
                  <a:noFill/>
                </a:ln>
                <a:solidFill>
                  <a:prstClr val="black"/>
                </a:solidFill>
                <a:effectLst/>
                <a:uLnTx/>
                <a:uFillTx/>
                <a:latin typeface="Calibri"/>
                <a:ea typeface="+mn-ea"/>
                <a:cs typeface="+mn-cs"/>
              </a:rPr>
              <a:t>Pfortmüller</a:t>
            </a:r>
            <a:r>
              <a:rPr kumimoji="0" lang="en-GB" sz="3200" b="0" i="0" u="none" strike="noStrike" kern="1200" cap="none" spc="0" normalizeH="0" baseline="0" noProof="0" dirty="0">
                <a:ln>
                  <a:noFill/>
                </a:ln>
                <a:solidFill>
                  <a:prstClr val="black"/>
                </a:solidFill>
                <a:effectLst/>
                <a:uLnTx/>
                <a:uFillTx/>
                <a:latin typeface="Calibri"/>
                <a:ea typeface="+mn-ea"/>
                <a:cs typeface="+mn-cs"/>
              </a:rPr>
              <a:t>, Community Canva</a:t>
            </a:r>
            <a:endParaRPr kumimoji="0" lang="en-GB" sz="2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98795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5CEAB58-0EB2-4B4B-A1CF-6B102A9A48BE}"/>
              </a:ext>
            </a:extLst>
          </p:cNvPr>
          <p:cNvSpPr>
            <a:spLocks noGrp="1"/>
          </p:cNvSpPr>
          <p:nvPr>
            <p:ph type="title"/>
          </p:nvPr>
        </p:nvSpPr>
        <p:spPr>
          <a:xfrm>
            <a:off x="1631504" y="-47623"/>
            <a:ext cx="8928992" cy="1143000"/>
          </a:xfrm>
        </p:spPr>
        <p:txBody>
          <a:bodyPr>
            <a:noAutofit/>
          </a:bodyPr>
          <a:lstStyle/>
          <a:p>
            <a:r>
              <a:rPr lang="en-GB" sz="3600" b="1" dirty="0">
                <a:solidFill>
                  <a:srgbClr val="0033CC"/>
                </a:solidFill>
              </a:rPr>
              <a:t>A sense of community</a:t>
            </a:r>
          </a:p>
        </p:txBody>
      </p:sp>
      <p:pic>
        <p:nvPicPr>
          <p:cNvPr id="1026" name="Picture 2" descr="Vector clip art rectangular comic speech bubble">
            <a:extLst>
              <a:ext uri="{FF2B5EF4-FFF2-40B4-BE49-F238E27FC236}">
                <a16:creationId xmlns:a16="http://schemas.microsoft.com/office/drawing/2014/main" id="{B5A6ECD9-790D-435A-9BAD-9240D77169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47528" y="908720"/>
            <a:ext cx="8496944" cy="489654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00C0E4AB-3ED4-4189-8BA2-625369B594C2}"/>
              </a:ext>
            </a:extLst>
          </p:cNvPr>
          <p:cNvSpPr txBox="1"/>
          <p:nvPr/>
        </p:nvSpPr>
        <p:spPr>
          <a:xfrm>
            <a:off x="5379193" y="5364505"/>
            <a:ext cx="2149948"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0F1419"/>
                </a:solidFill>
                <a:effectLst/>
                <a:uLnTx/>
                <a:uFillTx/>
                <a:latin typeface="TwitterChirp"/>
                <a:ea typeface="+mn-ea"/>
                <a:cs typeface="+mn-cs"/>
              </a:rPr>
              <a:t>D McMillan</a:t>
            </a:r>
            <a:endParaRPr kumimoji="0" lang="en-GB" sz="32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TextBox 7">
            <a:extLst>
              <a:ext uri="{FF2B5EF4-FFF2-40B4-BE49-F238E27FC236}">
                <a16:creationId xmlns:a16="http://schemas.microsoft.com/office/drawing/2014/main" id="{6B4DAD61-AB92-4163-8602-962CEA505E4B}"/>
              </a:ext>
            </a:extLst>
          </p:cNvPr>
          <p:cNvSpPr txBox="1"/>
          <p:nvPr/>
        </p:nvSpPr>
        <p:spPr>
          <a:xfrm>
            <a:off x="2769543" y="5877272"/>
            <a:ext cx="7369249"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a:ea typeface="+mn-ea"/>
                <a:cs typeface="+mn-cs"/>
              </a:rPr>
              <a:t>From </a:t>
            </a:r>
            <a:r>
              <a:rPr kumimoji="0" lang="en-GB" sz="1800" b="0" i="1" u="none" strike="noStrike" kern="1200" cap="none" spc="0" normalizeH="0" baseline="0" noProof="0" dirty="0">
                <a:ln>
                  <a:noFill/>
                </a:ln>
                <a:solidFill>
                  <a:prstClr val="black"/>
                </a:solidFill>
                <a:effectLst/>
                <a:uLnTx/>
                <a:uFillTx/>
                <a:latin typeface="Calibri"/>
                <a:ea typeface="+mn-ea"/>
                <a:cs typeface="+mn-cs"/>
              </a:rPr>
              <a:t>Virtual communities for impact </a:t>
            </a:r>
            <a:r>
              <a:rPr kumimoji="0" lang="en-GB" sz="1800" b="0" i="0" u="none" strike="noStrike" kern="1200" cap="none" spc="0" normalizeH="0" baseline="0" noProof="0" dirty="0">
                <a:ln>
                  <a:noFill/>
                </a:ln>
                <a:solidFill>
                  <a:prstClr val="black"/>
                </a:solidFill>
                <a:effectLst/>
                <a:uLnTx/>
                <a:uFillTx/>
                <a:latin typeface="Calibri"/>
                <a:ea typeface="+mn-ea"/>
                <a:cs typeface="+mn-cs"/>
                <a:hlinkClick r:id="rId3"/>
              </a:rPr>
              <a:t>https://communitiesforimpact.org/</a:t>
            </a:r>
            <a:r>
              <a:rPr kumimoji="0" lang="en-GB" sz="1800" b="0" i="0" u="none" strike="noStrike" kern="1200" cap="none" spc="0" normalizeH="0" baseline="0" noProof="0" dirty="0">
                <a:ln>
                  <a:noFill/>
                </a:ln>
                <a:solidFill>
                  <a:prstClr val="black"/>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var(--post_title_typography-font-family)"/>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var(--post_title_typography-font-family)"/>
              <a:ea typeface="+mn-ea"/>
              <a:cs typeface="+mn-cs"/>
            </a:endParaRPr>
          </a:p>
        </p:txBody>
      </p:sp>
      <p:sp>
        <p:nvSpPr>
          <p:cNvPr id="9" name="TextBox 8">
            <a:extLst>
              <a:ext uri="{FF2B5EF4-FFF2-40B4-BE49-F238E27FC236}">
                <a16:creationId xmlns:a16="http://schemas.microsoft.com/office/drawing/2014/main" id="{87F83BD8-63EF-4F92-B325-7097C729357D}"/>
              </a:ext>
            </a:extLst>
          </p:cNvPr>
          <p:cNvSpPr txBox="1"/>
          <p:nvPr/>
        </p:nvSpPr>
        <p:spPr>
          <a:xfrm>
            <a:off x="2199159" y="1167385"/>
            <a:ext cx="7793682" cy="30469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black"/>
                </a:solidFill>
                <a:effectLst/>
                <a:uLnTx/>
                <a:uFillTx/>
                <a:latin typeface="LGcafeBold"/>
                <a:ea typeface="+mn-ea"/>
                <a:cs typeface="+mn-cs"/>
              </a:rPr>
              <a:t>Sense of community is a feeling that members have of belonging, a feeling that members matter to one another and to the group, and a shared faith that members’ needs will be met through their commitment to be together</a:t>
            </a:r>
            <a:endParaRPr kumimoji="0" lang="en-GB" sz="3200" b="0" i="1"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83740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0F04D-29D2-41B1-AB64-396AA87186E7}"/>
              </a:ext>
            </a:extLst>
          </p:cNvPr>
          <p:cNvSpPr>
            <a:spLocks noGrp="1"/>
          </p:cNvSpPr>
          <p:nvPr>
            <p:ph type="title"/>
          </p:nvPr>
        </p:nvSpPr>
        <p:spPr/>
        <p:txBody>
          <a:bodyPr/>
          <a:lstStyle/>
          <a:p>
            <a:pPr algn="l"/>
            <a:r>
              <a:rPr lang="en-GB" b="1" dirty="0">
                <a:solidFill>
                  <a:srgbClr val="0070C0"/>
                </a:solidFill>
              </a:rPr>
              <a:t>Four elements to community</a:t>
            </a:r>
          </a:p>
        </p:txBody>
      </p:sp>
      <p:sp>
        <p:nvSpPr>
          <p:cNvPr id="3" name="Content Placeholder 2">
            <a:extLst>
              <a:ext uri="{FF2B5EF4-FFF2-40B4-BE49-F238E27FC236}">
                <a16:creationId xmlns:a16="http://schemas.microsoft.com/office/drawing/2014/main" id="{2101CFFA-9E28-4DBF-B70C-9F1E92024A4E}"/>
              </a:ext>
            </a:extLst>
          </p:cNvPr>
          <p:cNvSpPr>
            <a:spLocks noGrp="1"/>
          </p:cNvSpPr>
          <p:nvPr>
            <p:ph idx="1"/>
          </p:nvPr>
        </p:nvSpPr>
        <p:spPr/>
        <p:txBody>
          <a:bodyPr>
            <a:normAutofit/>
          </a:bodyPr>
          <a:lstStyle/>
          <a:p>
            <a:pPr marL="514350" indent="-514350">
              <a:buFont typeface="+mj-lt"/>
              <a:buAutoNum type="arabicPeriod"/>
            </a:pPr>
            <a:r>
              <a:rPr lang="en-GB" dirty="0"/>
              <a:t>A feeling of </a:t>
            </a:r>
            <a:r>
              <a:rPr lang="en-GB" b="1" dirty="0">
                <a:solidFill>
                  <a:srgbClr val="0070C0"/>
                </a:solidFill>
              </a:rPr>
              <a:t>belonging</a:t>
            </a:r>
            <a:r>
              <a:rPr lang="en-GB" dirty="0"/>
              <a:t> or </a:t>
            </a:r>
            <a:r>
              <a:rPr lang="en-GB" b="1" dirty="0">
                <a:solidFill>
                  <a:srgbClr val="0070C0"/>
                </a:solidFill>
              </a:rPr>
              <a:t>membership</a:t>
            </a:r>
          </a:p>
          <a:p>
            <a:pPr marL="514350" indent="-514350">
              <a:buFont typeface="+mj-lt"/>
              <a:buAutoNum type="arabicPeriod"/>
            </a:pPr>
            <a:r>
              <a:rPr lang="en-GB" b="1" dirty="0">
                <a:solidFill>
                  <a:srgbClr val="0070C0"/>
                </a:solidFill>
              </a:rPr>
              <a:t>Influence</a:t>
            </a:r>
            <a:r>
              <a:rPr lang="en-GB" dirty="0"/>
              <a:t>: a sense of mattering, of making a difference through the group and of the group mattering to its members. </a:t>
            </a:r>
          </a:p>
          <a:p>
            <a:pPr marL="514350" indent="-514350">
              <a:buFont typeface="+mj-lt"/>
              <a:buAutoNum type="arabicPeriod"/>
            </a:pPr>
            <a:r>
              <a:rPr lang="en-GB" b="1" dirty="0">
                <a:solidFill>
                  <a:srgbClr val="0070C0"/>
                </a:solidFill>
              </a:rPr>
              <a:t>Reinforcement</a:t>
            </a:r>
            <a:r>
              <a:rPr lang="en-GB" dirty="0"/>
              <a:t> - the feeling that members’ needs will be met through their membership in the group</a:t>
            </a:r>
          </a:p>
          <a:p>
            <a:pPr marL="514350" indent="-514350">
              <a:buFont typeface="+mj-lt"/>
              <a:buAutoNum type="arabicPeriod"/>
            </a:pPr>
            <a:r>
              <a:rPr lang="en-GB" b="1" dirty="0">
                <a:solidFill>
                  <a:srgbClr val="0070C0"/>
                </a:solidFill>
              </a:rPr>
              <a:t>Shared emotional connection</a:t>
            </a:r>
            <a:r>
              <a:rPr lang="en-GB" dirty="0"/>
              <a:t>, through shared purpose and interacting in shared events</a:t>
            </a:r>
          </a:p>
        </p:txBody>
      </p:sp>
      <p:sp>
        <p:nvSpPr>
          <p:cNvPr id="5" name="TextBox 4">
            <a:extLst>
              <a:ext uri="{FF2B5EF4-FFF2-40B4-BE49-F238E27FC236}">
                <a16:creationId xmlns:a16="http://schemas.microsoft.com/office/drawing/2014/main" id="{83070108-08AD-46B7-B817-4D9720BBC433}"/>
              </a:ext>
            </a:extLst>
          </p:cNvPr>
          <p:cNvSpPr txBox="1"/>
          <p:nvPr/>
        </p:nvSpPr>
        <p:spPr>
          <a:xfrm>
            <a:off x="3219450" y="6214029"/>
            <a:ext cx="93726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111111"/>
                </a:solidFill>
                <a:effectLst/>
                <a:uLnTx/>
                <a:uFillTx/>
                <a:latin typeface="Roboto" panose="02000000000000000000" pitchFamily="2" charset="0"/>
                <a:ea typeface="+mn-ea"/>
                <a:cs typeface="+mn-cs"/>
              </a:rPr>
              <a:t>David McMillan, David </a:t>
            </a:r>
            <a:r>
              <a:rPr kumimoji="0" lang="fr-FR" sz="1800" b="0" i="0" u="none" strike="noStrike" kern="1200" cap="none" spc="0" normalizeH="0" baseline="0" noProof="0" dirty="0" err="1">
                <a:ln>
                  <a:noFill/>
                </a:ln>
                <a:solidFill>
                  <a:srgbClr val="111111"/>
                </a:solidFill>
                <a:effectLst/>
                <a:uLnTx/>
                <a:uFillTx/>
                <a:latin typeface="Roboto" panose="02000000000000000000" pitchFamily="2" charset="0"/>
                <a:ea typeface="+mn-ea"/>
                <a:cs typeface="+mn-cs"/>
              </a:rPr>
              <a:t>Chavis</a:t>
            </a:r>
            <a:r>
              <a:rPr kumimoji="0" lang="fr-FR" sz="1800" b="0" i="0" u="none" strike="noStrike" kern="1200" cap="none" spc="0" normalizeH="0" baseline="0" noProof="0" dirty="0">
                <a:ln>
                  <a:noFill/>
                </a:ln>
                <a:solidFill>
                  <a:srgbClr val="111111"/>
                </a:solidFill>
                <a:effectLst/>
                <a:uLnTx/>
                <a:uFillTx/>
                <a:latin typeface="Roboto" panose="02000000000000000000" pitchFamily="2" charset="0"/>
                <a:ea typeface="+mn-ea"/>
                <a:cs typeface="+mn-cs"/>
              </a:rPr>
              <a:t>, </a:t>
            </a:r>
            <a:r>
              <a:rPr kumimoji="0" lang="en-GB" sz="1800" b="0" i="0" u="none" strike="noStrike" kern="1200" cap="none" spc="0" normalizeH="0" baseline="0" noProof="0" dirty="0">
                <a:ln>
                  <a:noFill/>
                </a:ln>
                <a:solidFill>
                  <a:srgbClr val="111111"/>
                </a:solidFill>
                <a:effectLst/>
                <a:uLnTx/>
                <a:uFillTx/>
                <a:latin typeface="Roboto" panose="02000000000000000000" pitchFamily="2" charset="0"/>
                <a:ea typeface="+mn-ea"/>
                <a:cs typeface="+mn-cs"/>
                <a:hlinkClick r:id="rId2"/>
              </a:rPr>
              <a:t>Sense of Community: A Definition and Theory</a:t>
            </a:r>
            <a:endParaRPr kumimoji="0" lang="en-GB" sz="1800" b="0" i="0" u="none" strike="noStrike" kern="1200" cap="none" spc="0" normalizeH="0" baseline="0" noProof="0" dirty="0">
              <a:ln>
                <a:noFill/>
              </a:ln>
              <a:solidFill>
                <a:srgbClr val="111111"/>
              </a:solidFill>
              <a:effectLst/>
              <a:uLnTx/>
              <a:uFillTx/>
              <a:latin typeface="Roboto" panose="02000000000000000000" pitchFamily="2" charset="0"/>
              <a:ea typeface="+mn-ea"/>
              <a:cs typeface="+mn-cs"/>
            </a:endParaRPr>
          </a:p>
        </p:txBody>
      </p:sp>
    </p:spTree>
    <p:extLst>
      <p:ext uri="{BB962C8B-B14F-4D97-AF65-F5344CB8AC3E}">
        <p14:creationId xmlns:p14="http://schemas.microsoft.com/office/powerpoint/2010/main" val="25773467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DB101F-398A-4604-ACCA-6E18080E112F}"/>
              </a:ext>
            </a:extLst>
          </p:cNvPr>
          <p:cNvPicPr>
            <a:picLocks noChangeAspect="1"/>
          </p:cNvPicPr>
          <p:nvPr/>
        </p:nvPicPr>
        <p:blipFill>
          <a:blip r:embed="rId2"/>
          <a:stretch>
            <a:fillRect/>
          </a:stretch>
        </p:blipFill>
        <p:spPr>
          <a:xfrm rot="304327">
            <a:off x="2164136" y="164252"/>
            <a:ext cx="7344815" cy="5033571"/>
          </a:xfrm>
          <a:prstGeom prst="rect">
            <a:avLst/>
          </a:prstGeom>
        </p:spPr>
      </p:pic>
      <p:sp>
        <p:nvSpPr>
          <p:cNvPr id="4" name="TextBox 3">
            <a:extLst>
              <a:ext uri="{FF2B5EF4-FFF2-40B4-BE49-F238E27FC236}">
                <a16:creationId xmlns:a16="http://schemas.microsoft.com/office/drawing/2014/main" id="{8A64FCE1-A7CA-4E76-9DF6-4B6AED1185D6}"/>
              </a:ext>
            </a:extLst>
          </p:cNvPr>
          <p:cNvSpPr txBox="1"/>
          <p:nvPr/>
        </p:nvSpPr>
        <p:spPr>
          <a:xfrm>
            <a:off x="2632187" y="1234487"/>
            <a:ext cx="6408712" cy="144655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black"/>
                </a:solidFill>
                <a:effectLst/>
                <a:uLnTx/>
                <a:uFillTx/>
                <a:latin typeface="LGcafeBold"/>
                <a:ea typeface="+mn-ea"/>
                <a:cs typeface="+mn-cs"/>
              </a:rPr>
              <a:t>Networks connec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black"/>
                </a:solidFill>
                <a:effectLst/>
                <a:uLnTx/>
                <a:uFillTx/>
                <a:latin typeface="LGcafeBold"/>
                <a:ea typeface="+mn-ea"/>
                <a:cs typeface="+mn-cs"/>
              </a:rPr>
              <a:t>communities care.</a:t>
            </a:r>
          </a:p>
        </p:txBody>
      </p:sp>
      <p:sp>
        <p:nvSpPr>
          <p:cNvPr id="7" name="TextBox 6">
            <a:extLst>
              <a:ext uri="{FF2B5EF4-FFF2-40B4-BE49-F238E27FC236}">
                <a16:creationId xmlns:a16="http://schemas.microsoft.com/office/drawing/2014/main" id="{0B683853-8E77-4A77-B359-FBD28216D9CE}"/>
              </a:ext>
            </a:extLst>
          </p:cNvPr>
          <p:cNvSpPr txBox="1"/>
          <p:nvPr/>
        </p:nvSpPr>
        <p:spPr>
          <a:xfrm>
            <a:off x="1663292" y="4943257"/>
            <a:ext cx="5472607" cy="113877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black"/>
                </a:solidFill>
                <a:effectLst/>
                <a:uLnTx/>
                <a:uFillTx/>
                <a:latin typeface="LGcafeBold"/>
                <a:ea typeface="+mn-ea"/>
                <a:cs typeface="+mn-cs"/>
              </a:rPr>
              <a:t>Henry Mintzber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EC7767"/>
                </a:solidFill>
                <a:effectLst/>
                <a:uLnTx/>
                <a:uFillTx/>
                <a:latin typeface="LGcafeBold"/>
                <a:ea typeface="+mn-ea"/>
                <a:cs typeface="+mn-cs"/>
                <a:hlinkClick r:id="rId3"/>
              </a:rPr>
              <a:t>https://hbr.org/2015/10/we-need-both-networks-and-communities</a:t>
            </a:r>
            <a:r>
              <a:rPr kumimoji="0" lang="en-GB" sz="1800" b="0" i="0" u="none" strike="noStrike" kern="1200" cap="none" spc="0" normalizeH="0" baseline="0" noProof="0" dirty="0">
                <a:ln>
                  <a:noFill/>
                </a:ln>
                <a:solidFill>
                  <a:srgbClr val="EC7767"/>
                </a:solidFill>
                <a:effectLst/>
                <a:uLnTx/>
                <a:uFillTx/>
                <a:latin typeface="LGcafeBold"/>
                <a:ea typeface="+mn-ea"/>
                <a:cs typeface="+mn-cs"/>
              </a:rPr>
              <a:t> </a:t>
            </a:r>
          </a:p>
        </p:txBody>
      </p:sp>
    </p:spTree>
    <p:extLst>
      <p:ext uri="{BB962C8B-B14F-4D97-AF65-F5344CB8AC3E}">
        <p14:creationId xmlns:p14="http://schemas.microsoft.com/office/powerpoint/2010/main" val="38737260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B7FF827-0E84-4261-9312-95ED539FB347}"/>
              </a:ext>
            </a:extLst>
          </p:cNvPr>
          <p:cNvSpPr>
            <a:spLocks noGrp="1"/>
          </p:cNvSpPr>
          <p:nvPr>
            <p:ph type="ctrTitle"/>
          </p:nvPr>
        </p:nvSpPr>
        <p:spPr>
          <a:xfrm>
            <a:off x="914400" y="207169"/>
            <a:ext cx="10363200" cy="3336131"/>
          </a:xfrm>
        </p:spPr>
        <p:txBody>
          <a:bodyPr>
            <a:normAutofit/>
          </a:bodyPr>
          <a:lstStyle/>
          <a:p>
            <a:r>
              <a:rPr lang="en-GB" sz="3600" i="1" dirty="0">
                <a:effectLst/>
                <a:latin typeface="Frutiger"/>
                <a:ea typeface="Calibri" panose="020F0502020204030204" pitchFamily="34" charset="0"/>
                <a:cs typeface="Times New Roman" panose="02020603050405020304" pitchFamily="18" charset="0"/>
              </a:rPr>
              <a:t>Change is inherently relational: it depends on our ability to work with others to enable it to happen. </a:t>
            </a:r>
            <a:br>
              <a:rPr lang="en-GB" sz="3600" i="1" dirty="0">
                <a:effectLst/>
                <a:latin typeface="Frutiger"/>
                <a:ea typeface="Calibri" panose="020F0502020204030204" pitchFamily="34" charset="0"/>
                <a:cs typeface="Times New Roman" panose="02020603050405020304" pitchFamily="18" charset="0"/>
              </a:rPr>
            </a:br>
            <a:r>
              <a:rPr lang="en-GB" sz="3600" i="1" dirty="0">
                <a:effectLst/>
                <a:latin typeface="Frutiger"/>
                <a:ea typeface="Calibri" panose="020F0502020204030204" pitchFamily="34" charset="0"/>
                <a:cs typeface="Times New Roman" panose="02020603050405020304" pitchFamily="18" charset="0"/>
              </a:rPr>
              <a:t>In a system.</a:t>
            </a:r>
            <a:br>
              <a:rPr lang="en-GB" sz="3200" i="1" dirty="0">
                <a:effectLst/>
                <a:latin typeface="Frutiger"/>
                <a:ea typeface="Calibri" panose="020F0502020204030204" pitchFamily="34" charset="0"/>
                <a:cs typeface="Times New Roman" panose="02020603050405020304" pitchFamily="18" charset="0"/>
              </a:rPr>
            </a:br>
            <a:r>
              <a:rPr lang="en-GB" sz="2800" dirty="0">
                <a:effectLst/>
                <a:latin typeface="Frutiger"/>
                <a:ea typeface="Calibri" panose="020F0502020204030204" pitchFamily="34" charset="0"/>
                <a:cs typeface="Times New Roman" panose="02020603050405020304" pitchFamily="18" charset="0"/>
              </a:rPr>
              <a:t>Helen Bevan and Goran Henriks</a:t>
            </a:r>
            <a:endParaRPr lang="en-GB" sz="4400" i="1" dirty="0">
              <a:latin typeface="Frutiger"/>
            </a:endParaRPr>
          </a:p>
        </p:txBody>
      </p:sp>
      <p:pic>
        <p:nvPicPr>
          <p:cNvPr id="7" name="Picture 6">
            <a:extLst>
              <a:ext uri="{FF2B5EF4-FFF2-40B4-BE49-F238E27FC236}">
                <a16:creationId xmlns:a16="http://schemas.microsoft.com/office/drawing/2014/main" id="{720408D2-F5A5-4C36-A8EB-C32C55B021B1}"/>
              </a:ext>
            </a:extLst>
          </p:cNvPr>
          <p:cNvPicPr>
            <a:picLocks noChangeAspect="1"/>
          </p:cNvPicPr>
          <p:nvPr/>
        </p:nvPicPr>
        <p:blipFill>
          <a:blip r:embed="rId2"/>
          <a:stretch>
            <a:fillRect/>
          </a:stretch>
        </p:blipFill>
        <p:spPr>
          <a:xfrm>
            <a:off x="1877020" y="3070815"/>
            <a:ext cx="8437959" cy="2976516"/>
          </a:xfrm>
          <a:prstGeom prst="rect">
            <a:avLst/>
          </a:prstGeom>
        </p:spPr>
      </p:pic>
      <p:sp>
        <p:nvSpPr>
          <p:cNvPr id="5" name="TextBox 4">
            <a:extLst>
              <a:ext uri="{FF2B5EF4-FFF2-40B4-BE49-F238E27FC236}">
                <a16:creationId xmlns:a16="http://schemas.microsoft.com/office/drawing/2014/main" id="{E8B05D4B-7E6B-4741-827D-C40ACE813F43}"/>
              </a:ext>
            </a:extLst>
          </p:cNvPr>
          <p:cNvSpPr txBox="1"/>
          <p:nvPr/>
        </p:nvSpPr>
        <p:spPr>
          <a:xfrm>
            <a:off x="805804" y="551795"/>
            <a:ext cx="734914" cy="2646878"/>
          </a:xfrm>
          <a:prstGeom prst="rect">
            <a:avLst/>
          </a:prstGeom>
          <a:noFill/>
        </p:spPr>
        <p:txBody>
          <a:bodyPr wrap="square" rtlCol="0">
            <a:spAutoFit/>
          </a:bodyPr>
          <a:lstStyle/>
          <a:p>
            <a:r>
              <a:rPr lang="en-GB" sz="16600" dirty="0">
                <a:solidFill>
                  <a:srgbClr val="FF0000"/>
                </a:solidFill>
                <a:latin typeface="Playbill" panose="040506030A0602020202" pitchFamily="82" charset="0"/>
              </a:rPr>
              <a:t>“</a:t>
            </a:r>
          </a:p>
        </p:txBody>
      </p:sp>
    </p:spTree>
    <p:extLst>
      <p:ext uri="{BB962C8B-B14F-4D97-AF65-F5344CB8AC3E}">
        <p14:creationId xmlns:p14="http://schemas.microsoft.com/office/powerpoint/2010/main" val="36284844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6045" y="692696"/>
            <a:ext cx="10969257" cy="1143000"/>
          </a:xfrm>
        </p:spPr>
        <p:txBody>
          <a:bodyPr>
            <a:noAutofit/>
          </a:bodyPr>
          <a:lstStyle/>
          <a:p>
            <a:r>
              <a:rPr lang="en-GB" sz="4000" b="1" dirty="0">
                <a:solidFill>
                  <a:srgbClr val="0070C0"/>
                </a:solidFill>
              </a:rPr>
              <a:t>Spread of change happens more through relationships and building of community than any other factor</a:t>
            </a:r>
            <a:endParaRPr lang="en-GB" sz="4800" b="1" dirty="0">
              <a:solidFill>
                <a:srgbClr val="0070C0"/>
              </a:solidFill>
            </a:endParaRPr>
          </a:p>
        </p:txBody>
      </p:sp>
      <p:pic>
        <p:nvPicPr>
          <p:cNvPr id="5" name="Picture 4">
            <a:extLst>
              <a:ext uri="{FF2B5EF4-FFF2-40B4-BE49-F238E27FC236}">
                <a16:creationId xmlns:a16="http://schemas.microsoft.com/office/drawing/2014/main" id="{CB4AEC08-57FE-4458-8C19-4B27C57C41B2}"/>
              </a:ext>
            </a:extLst>
          </p:cNvPr>
          <p:cNvPicPr>
            <a:picLocks noChangeAspect="1"/>
          </p:cNvPicPr>
          <p:nvPr/>
        </p:nvPicPr>
        <p:blipFill>
          <a:blip r:embed="rId2"/>
          <a:stretch>
            <a:fillRect/>
          </a:stretch>
        </p:blipFill>
        <p:spPr>
          <a:xfrm rot="5400000">
            <a:off x="-92477" y="2550160"/>
            <a:ext cx="3720634" cy="3291840"/>
          </a:xfrm>
          <a:prstGeom prst="rect">
            <a:avLst/>
          </a:prstGeom>
        </p:spPr>
      </p:pic>
      <p:sp>
        <p:nvSpPr>
          <p:cNvPr id="3" name="Content Placeholder 2"/>
          <p:cNvSpPr>
            <a:spLocks noGrp="1"/>
          </p:cNvSpPr>
          <p:nvPr>
            <p:ph idx="1"/>
          </p:nvPr>
        </p:nvSpPr>
        <p:spPr>
          <a:xfrm>
            <a:off x="3136505" y="2443823"/>
            <a:ext cx="9397775" cy="4525963"/>
          </a:xfrm>
        </p:spPr>
        <p:txBody>
          <a:bodyPr>
            <a:normAutofit/>
          </a:bodyPr>
          <a:lstStyle/>
          <a:p>
            <a:r>
              <a:rPr lang="en-GB" dirty="0"/>
              <a:t>Evaluation of NHS organisations that undertook comparable improvement initiatives with vastly different outcomes </a:t>
            </a:r>
          </a:p>
          <a:p>
            <a:r>
              <a:rPr lang="en-GB" dirty="0"/>
              <a:t>The difference? </a:t>
            </a:r>
            <a:r>
              <a:rPr lang="en-GB" b="1" dirty="0">
                <a:solidFill>
                  <a:schemeClr val="accent1"/>
                </a:solidFill>
              </a:rPr>
              <a:t>The level of social connections between those working to lead improvement</a:t>
            </a:r>
          </a:p>
          <a:p>
            <a:endParaRPr lang="en-GB" dirty="0"/>
          </a:p>
          <a:p>
            <a:pPr marL="0" indent="0" algn="ctr">
              <a:buNone/>
            </a:pPr>
            <a:r>
              <a:rPr lang="en-GB" sz="2400" dirty="0"/>
              <a:t>Source: Nicola Burgess, Warwick Business School, evaluation of the partnership between the NHS and Virginia Mason Institute</a:t>
            </a:r>
          </a:p>
        </p:txBody>
      </p:sp>
    </p:spTree>
    <p:extLst>
      <p:ext uri="{BB962C8B-B14F-4D97-AF65-F5344CB8AC3E}">
        <p14:creationId xmlns:p14="http://schemas.microsoft.com/office/powerpoint/2010/main" val="23524568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E416AE3-EA98-42E4-950D-6C16C0F7E495}"/>
              </a:ext>
            </a:extLst>
          </p:cNvPr>
          <p:cNvPicPr>
            <a:picLocks noChangeAspect="1"/>
          </p:cNvPicPr>
          <p:nvPr/>
        </p:nvPicPr>
        <p:blipFill>
          <a:blip r:embed="rId2"/>
          <a:stretch>
            <a:fillRect/>
          </a:stretch>
        </p:blipFill>
        <p:spPr>
          <a:xfrm>
            <a:off x="1524000" y="116632"/>
            <a:ext cx="9144000" cy="6408712"/>
          </a:xfrm>
          <a:prstGeom prst="rect">
            <a:avLst/>
          </a:prstGeom>
        </p:spPr>
      </p:pic>
      <p:sp>
        <p:nvSpPr>
          <p:cNvPr id="3" name="TextBox 2">
            <a:extLst>
              <a:ext uri="{FF2B5EF4-FFF2-40B4-BE49-F238E27FC236}">
                <a16:creationId xmlns:a16="http://schemas.microsoft.com/office/drawing/2014/main" id="{41DC4E2D-A34E-452E-897F-83B680877D6B}"/>
              </a:ext>
            </a:extLst>
          </p:cNvPr>
          <p:cNvSpPr txBox="1"/>
          <p:nvPr/>
        </p:nvSpPr>
        <p:spPr>
          <a:xfrm>
            <a:off x="8040216" y="6504993"/>
            <a:ext cx="255262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a:ea typeface="+mn-ea"/>
                <a:cs typeface="+mn-cs"/>
              </a:rPr>
              <a:t>Source: Nicola Burgess, WBS</a:t>
            </a:r>
          </a:p>
        </p:txBody>
      </p:sp>
      <p:sp>
        <p:nvSpPr>
          <p:cNvPr id="4" name="Rectangle 3">
            <a:extLst>
              <a:ext uri="{FF2B5EF4-FFF2-40B4-BE49-F238E27FC236}">
                <a16:creationId xmlns:a16="http://schemas.microsoft.com/office/drawing/2014/main" id="{899CC9F0-19C3-4993-AF4C-AFC04E1A8CCF}"/>
              </a:ext>
            </a:extLst>
          </p:cNvPr>
          <p:cNvSpPr/>
          <p:nvPr/>
        </p:nvSpPr>
        <p:spPr>
          <a:xfrm>
            <a:off x="2423592" y="692696"/>
            <a:ext cx="5184576"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70C0"/>
                </a:solidFill>
                <a:effectLst/>
                <a:uLnTx/>
                <a:uFillTx/>
                <a:latin typeface="Calibri"/>
                <a:ea typeface="+mn-ea"/>
                <a:cs typeface="+mn-cs"/>
              </a:rPr>
              <a:t>Organisation A: “Outstanding”</a:t>
            </a:r>
          </a:p>
        </p:txBody>
      </p:sp>
      <p:sp>
        <p:nvSpPr>
          <p:cNvPr id="5" name="Rectangle 4">
            <a:extLst>
              <a:ext uri="{FF2B5EF4-FFF2-40B4-BE49-F238E27FC236}">
                <a16:creationId xmlns:a16="http://schemas.microsoft.com/office/drawing/2014/main" id="{4952909A-EB53-4114-898D-08657C04843C}"/>
              </a:ext>
            </a:extLst>
          </p:cNvPr>
          <p:cNvSpPr/>
          <p:nvPr/>
        </p:nvSpPr>
        <p:spPr>
          <a:xfrm>
            <a:off x="2135560" y="5373216"/>
            <a:ext cx="4616466"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Freeform: Shape 6">
            <a:extLst>
              <a:ext uri="{FF2B5EF4-FFF2-40B4-BE49-F238E27FC236}">
                <a16:creationId xmlns:a16="http://schemas.microsoft.com/office/drawing/2014/main" id="{54CDF74C-DC2F-4A8A-9BE6-D7669CB57645}"/>
              </a:ext>
            </a:extLst>
          </p:cNvPr>
          <p:cNvSpPr/>
          <p:nvPr/>
        </p:nvSpPr>
        <p:spPr>
          <a:xfrm>
            <a:off x="7746521" y="920151"/>
            <a:ext cx="2559170" cy="4681709"/>
          </a:xfrm>
          <a:custGeom>
            <a:avLst/>
            <a:gdLst>
              <a:gd name="connsiteX0" fmla="*/ 902898 w 2559170"/>
              <a:gd name="connsiteY0" fmla="*/ 172528 h 4681709"/>
              <a:gd name="connsiteX1" fmla="*/ 874143 w 2559170"/>
              <a:gd name="connsiteY1" fmla="*/ 143774 h 4681709"/>
              <a:gd name="connsiteX2" fmla="*/ 655607 w 2559170"/>
              <a:gd name="connsiteY2" fmla="*/ 97766 h 4681709"/>
              <a:gd name="connsiteX3" fmla="*/ 224287 w 2559170"/>
              <a:gd name="connsiteY3" fmla="*/ 143774 h 4681709"/>
              <a:gd name="connsiteX4" fmla="*/ 126521 w 2559170"/>
              <a:gd name="connsiteY4" fmla="*/ 189781 h 4681709"/>
              <a:gd name="connsiteX5" fmla="*/ 63260 w 2559170"/>
              <a:gd name="connsiteY5" fmla="*/ 270294 h 4681709"/>
              <a:gd name="connsiteX6" fmla="*/ 74762 w 2559170"/>
              <a:gd name="connsiteY6" fmla="*/ 471577 h 4681709"/>
              <a:gd name="connsiteX7" fmla="*/ 80513 w 2559170"/>
              <a:gd name="connsiteY7" fmla="*/ 500332 h 4681709"/>
              <a:gd name="connsiteX8" fmla="*/ 63260 w 2559170"/>
              <a:gd name="connsiteY8" fmla="*/ 874143 h 4681709"/>
              <a:gd name="connsiteX9" fmla="*/ 57509 w 2559170"/>
              <a:gd name="connsiteY9" fmla="*/ 960407 h 4681709"/>
              <a:gd name="connsiteX10" fmla="*/ 34505 w 2559170"/>
              <a:gd name="connsiteY10" fmla="*/ 1069675 h 4681709"/>
              <a:gd name="connsiteX11" fmla="*/ 23004 w 2559170"/>
              <a:gd name="connsiteY11" fmla="*/ 1288211 h 4681709"/>
              <a:gd name="connsiteX12" fmla="*/ 40256 w 2559170"/>
              <a:gd name="connsiteY12" fmla="*/ 1782792 h 4681709"/>
              <a:gd name="connsiteX13" fmla="*/ 46007 w 2559170"/>
              <a:gd name="connsiteY13" fmla="*/ 2001328 h 4681709"/>
              <a:gd name="connsiteX14" fmla="*/ 63260 w 2559170"/>
              <a:gd name="connsiteY14" fmla="*/ 2053087 h 4681709"/>
              <a:gd name="connsiteX15" fmla="*/ 69011 w 2559170"/>
              <a:gd name="connsiteY15" fmla="*/ 2076091 h 4681709"/>
              <a:gd name="connsiteX16" fmla="*/ 86264 w 2559170"/>
              <a:gd name="connsiteY16" fmla="*/ 2168106 h 4681709"/>
              <a:gd name="connsiteX17" fmla="*/ 103517 w 2559170"/>
              <a:gd name="connsiteY17" fmla="*/ 2265872 h 4681709"/>
              <a:gd name="connsiteX18" fmla="*/ 97766 w 2559170"/>
              <a:gd name="connsiteY18" fmla="*/ 2455653 h 4681709"/>
              <a:gd name="connsiteX19" fmla="*/ 120770 w 2559170"/>
              <a:gd name="connsiteY19" fmla="*/ 2461404 h 4681709"/>
              <a:gd name="connsiteX20" fmla="*/ 155275 w 2559170"/>
              <a:gd name="connsiteY20" fmla="*/ 2501660 h 4681709"/>
              <a:gd name="connsiteX21" fmla="*/ 195532 w 2559170"/>
              <a:gd name="connsiteY21" fmla="*/ 2553419 h 4681709"/>
              <a:gd name="connsiteX22" fmla="*/ 212785 w 2559170"/>
              <a:gd name="connsiteY22" fmla="*/ 2576423 h 4681709"/>
              <a:gd name="connsiteX23" fmla="*/ 235788 w 2559170"/>
              <a:gd name="connsiteY23" fmla="*/ 2599426 h 4681709"/>
              <a:gd name="connsiteX24" fmla="*/ 287547 w 2559170"/>
              <a:gd name="connsiteY24" fmla="*/ 2656936 h 4681709"/>
              <a:gd name="connsiteX25" fmla="*/ 362309 w 2559170"/>
              <a:gd name="connsiteY25" fmla="*/ 2714445 h 4681709"/>
              <a:gd name="connsiteX26" fmla="*/ 419819 w 2559170"/>
              <a:gd name="connsiteY26" fmla="*/ 2794958 h 4681709"/>
              <a:gd name="connsiteX27" fmla="*/ 431321 w 2559170"/>
              <a:gd name="connsiteY27" fmla="*/ 2927230 h 4681709"/>
              <a:gd name="connsiteX28" fmla="*/ 437071 w 2559170"/>
              <a:gd name="connsiteY28" fmla="*/ 2944483 h 4681709"/>
              <a:gd name="connsiteX29" fmla="*/ 454324 w 2559170"/>
              <a:gd name="connsiteY29" fmla="*/ 2967487 h 4681709"/>
              <a:gd name="connsiteX30" fmla="*/ 437071 w 2559170"/>
              <a:gd name="connsiteY30" fmla="*/ 3076755 h 4681709"/>
              <a:gd name="connsiteX31" fmla="*/ 414068 w 2559170"/>
              <a:gd name="connsiteY31" fmla="*/ 3099758 h 4681709"/>
              <a:gd name="connsiteX32" fmla="*/ 287547 w 2559170"/>
              <a:gd name="connsiteY32" fmla="*/ 3157268 h 4681709"/>
              <a:gd name="connsiteX33" fmla="*/ 138022 w 2559170"/>
              <a:gd name="connsiteY33" fmla="*/ 3209026 h 4681709"/>
              <a:gd name="connsiteX34" fmla="*/ 109268 w 2559170"/>
              <a:gd name="connsiteY34" fmla="*/ 3289540 h 4681709"/>
              <a:gd name="connsiteX35" fmla="*/ 86264 w 2559170"/>
              <a:gd name="connsiteY35" fmla="*/ 3335547 h 4681709"/>
              <a:gd name="connsiteX36" fmla="*/ 63260 w 2559170"/>
              <a:gd name="connsiteY36" fmla="*/ 3393057 h 4681709"/>
              <a:gd name="connsiteX37" fmla="*/ 0 w 2559170"/>
              <a:gd name="connsiteY37" fmla="*/ 3531079 h 4681709"/>
              <a:gd name="connsiteX38" fmla="*/ 34505 w 2559170"/>
              <a:gd name="connsiteY38" fmla="*/ 3697857 h 4681709"/>
              <a:gd name="connsiteX39" fmla="*/ 69011 w 2559170"/>
              <a:gd name="connsiteY39" fmla="*/ 3766868 h 4681709"/>
              <a:gd name="connsiteX40" fmla="*/ 103517 w 2559170"/>
              <a:gd name="connsiteY40" fmla="*/ 3985404 h 4681709"/>
              <a:gd name="connsiteX41" fmla="*/ 109268 w 2559170"/>
              <a:gd name="connsiteY41" fmla="*/ 4054415 h 4681709"/>
              <a:gd name="connsiteX42" fmla="*/ 138022 w 2559170"/>
              <a:gd name="connsiteY42" fmla="*/ 4203940 h 4681709"/>
              <a:gd name="connsiteX43" fmla="*/ 143773 w 2559170"/>
              <a:gd name="connsiteY43" fmla="*/ 4410974 h 4681709"/>
              <a:gd name="connsiteX44" fmla="*/ 172528 w 2559170"/>
              <a:gd name="connsiteY44" fmla="*/ 4422475 h 4681709"/>
              <a:gd name="connsiteX45" fmla="*/ 212785 w 2559170"/>
              <a:gd name="connsiteY45" fmla="*/ 4462732 h 4681709"/>
              <a:gd name="connsiteX46" fmla="*/ 241539 w 2559170"/>
              <a:gd name="connsiteY46" fmla="*/ 4525992 h 4681709"/>
              <a:gd name="connsiteX47" fmla="*/ 287547 w 2559170"/>
              <a:gd name="connsiteY47" fmla="*/ 4566249 h 4681709"/>
              <a:gd name="connsiteX48" fmla="*/ 316302 w 2559170"/>
              <a:gd name="connsiteY48" fmla="*/ 4572000 h 4681709"/>
              <a:gd name="connsiteX49" fmla="*/ 402566 w 2559170"/>
              <a:gd name="connsiteY49" fmla="*/ 4595004 h 4681709"/>
              <a:gd name="connsiteX50" fmla="*/ 1052422 w 2559170"/>
              <a:gd name="connsiteY50" fmla="*/ 4641011 h 4681709"/>
              <a:gd name="connsiteX51" fmla="*/ 1270958 w 2559170"/>
              <a:gd name="connsiteY51" fmla="*/ 4681268 h 4681709"/>
              <a:gd name="connsiteX52" fmla="*/ 1472241 w 2559170"/>
              <a:gd name="connsiteY52" fmla="*/ 4658264 h 4681709"/>
              <a:gd name="connsiteX53" fmla="*/ 1495245 w 2559170"/>
              <a:gd name="connsiteY53" fmla="*/ 4629509 h 4681709"/>
              <a:gd name="connsiteX54" fmla="*/ 1782792 w 2559170"/>
              <a:gd name="connsiteY54" fmla="*/ 4623758 h 4681709"/>
              <a:gd name="connsiteX55" fmla="*/ 1828800 w 2559170"/>
              <a:gd name="connsiteY55" fmla="*/ 4589253 h 4681709"/>
              <a:gd name="connsiteX56" fmla="*/ 2001328 w 2559170"/>
              <a:gd name="connsiteY56" fmla="*/ 4572000 h 4681709"/>
              <a:gd name="connsiteX57" fmla="*/ 2070339 w 2559170"/>
              <a:gd name="connsiteY57" fmla="*/ 4548996 h 4681709"/>
              <a:gd name="connsiteX58" fmla="*/ 2099094 w 2559170"/>
              <a:gd name="connsiteY58" fmla="*/ 4531743 h 4681709"/>
              <a:gd name="connsiteX59" fmla="*/ 2173856 w 2559170"/>
              <a:gd name="connsiteY59" fmla="*/ 4410974 h 4681709"/>
              <a:gd name="connsiteX60" fmla="*/ 2185358 w 2559170"/>
              <a:gd name="connsiteY60" fmla="*/ 4370717 h 4681709"/>
              <a:gd name="connsiteX61" fmla="*/ 2173856 w 2559170"/>
              <a:gd name="connsiteY61" fmla="*/ 4232694 h 4681709"/>
              <a:gd name="connsiteX62" fmla="*/ 2162354 w 2559170"/>
              <a:gd name="connsiteY62" fmla="*/ 4111924 h 4681709"/>
              <a:gd name="connsiteX63" fmla="*/ 2196860 w 2559170"/>
              <a:gd name="connsiteY63" fmla="*/ 3646098 h 4681709"/>
              <a:gd name="connsiteX64" fmla="*/ 2271622 w 2559170"/>
              <a:gd name="connsiteY64" fmla="*/ 3496574 h 4681709"/>
              <a:gd name="connsiteX65" fmla="*/ 2288875 w 2559170"/>
              <a:gd name="connsiteY65" fmla="*/ 3450566 h 4681709"/>
              <a:gd name="connsiteX66" fmla="*/ 2352136 w 2559170"/>
              <a:gd name="connsiteY66" fmla="*/ 3364302 h 4681709"/>
              <a:gd name="connsiteX67" fmla="*/ 2386641 w 2559170"/>
              <a:gd name="connsiteY67" fmla="*/ 3283789 h 4681709"/>
              <a:gd name="connsiteX68" fmla="*/ 2484407 w 2559170"/>
              <a:gd name="connsiteY68" fmla="*/ 2915728 h 4681709"/>
              <a:gd name="connsiteX69" fmla="*/ 2490158 w 2559170"/>
              <a:gd name="connsiteY69" fmla="*/ 2191109 h 4681709"/>
              <a:gd name="connsiteX70" fmla="*/ 2472905 w 2559170"/>
              <a:gd name="connsiteY70" fmla="*/ 2087592 h 4681709"/>
              <a:gd name="connsiteX71" fmla="*/ 2478656 w 2559170"/>
              <a:gd name="connsiteY71" fmla="*/ 1823049 h 4681709"/>
              <a:gd name="connsiteX72" fmla="*/ 2518913 w 2559170"/>
              <a:gd name="connsiteY72" fmla="*/ 1731034 h 4681709"/>
              <a:gd name="connsiteX73" fmla="*/ 2559170 w 2559170"/>
              <a:gd name="connsiteY73" fmla="*/ 1466491 h 4681709"/>
              <a:gd name="connsiteX74" fmla="*/ 2547668 w 2559170"/>
              <a:gd name="connsiteY74" fmla="*/ 1259457 h 4681709"/>
              <a:gd name="connsiteX75" fmla="*/ 2530415 w 2559170"/>
              <a:gd name="connsiteY75" fmla="*/ 1144438 h 4681709"/>
              <a:gd name="connsiteX76" fmla="*/ 2426898 w 2559170"/>
              <a:gd name="connsiteY76" fmla="*/ 799381 h 4681709"/>
              <a:gd name="connsiteX77" fmla="*/ 2329132 w 2559170"/>
              <a:gd name="connsiteY77" fmla="*/ 500332 h 4681709"/>
              <a:gd name="connsiteX78" fmla="*/ 2294626 w 2559170"/>
              <a:gd name="connsiteY78" fmla="*/ 247291 h 4681709"/>
              <a:gd name="connsiteX79" fmla="*/ 2254370 w 2559170"/>
              <a:gd name="connsiteY79" fmla="*/ 126521 h 4681709"/>
              <a:gd name="connsiteX80" fmla="*/ 2214113 w 2559170"/>
              <a:gd name="connsiteY80" fmla="*/ 63260 h 4681709"/>
              <a:gd name="connsiteX81" fmla="*/ 2081841 w 2559170"/>
              <a:gd name="connsiteY81" fmla="*/ 5751 h 4681709"/>
              <a:gd name="connsiteX82" fmla="*/ 1972573 w 2559170"/>
              <a:gd name="connsiteY82" fmla="*/ 0 h 4681709"/>
              <a:gd name="connsiteX83" fmla="*/ 1339970 w 2559170"/>
              <a:gd name="connsiteY83" fmla="*/ 28755 h 4681709"/>
              <a:gd name="connsiteX84" fmla="*/ 1270958 w 2559170"/>
              <a:gd name="connsiteY84" fmla="*/ 46007 h 4681709"/>
              <a:gd name="connsiteX85" fmla="*/ 1167441 w 2559170"/>
              <a:gd name="connsiteY85" fmla="*/ 57509 h 4681709"/>
              <a:gd name="connsiteX86" fmla="*/ 1075426 w 2559170"/>
              <a:gd name="connsiteY86" fmla="*/ 69011 h 4681709"/>
              <a:gd name="connsiteX87" fmla="*/ 983411 w 2559170"/>
              <a:gd name="connsiteY87" fmla="*/ 92015 h 4681709"/>
              <a:gd name="connsiteX88" fmla="*/ 920151 w 2559170"/>
              <a:gd name="connsiteY88" fmla="*/ 97766 h 4681709"/>
              <a:gd name="connsiteX89" fmla="*/ 891396 w 2559170"/>
              <a:gd name="connsiteY89" fmla="*/ 103517 h 4681709"/>
              <a:gd name="connsiteX90" fmla="*/ 816634 w 2559170"/>
              <a:gd name="connsiteY90" fmla="*/ 126521 h 4681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559170" h="4681709">
                <a:moveTo>
                  <a:pt x="902898" y="172528"/>
                </a:moveTo>
                <a:cubicBezTo>
                  <a:pt x="893313" y="162943"/>
                  <a:pt x="886371" y="149622"/>
                  <a:pt x="874143" y="143774"/>
                </a:cubicBezTo>
                <a:cubicBezTo>
                  <a:pt x="787737" y="102450"/>
                  <a:pt x="749968" y="107202"/>
                  <a:pt x="655607" y="97766"/>
                </a:cubicBezTo>
                <a:cubicBezTo>
                  <a:pt x="95219" y="123630"/>
                  <a:pt x="421743" y="57925"/>
                  <a:pt x="224287" y="143774"/>
                </a:cubicBezTo>
                <a:cubicBezTo>
                  <a:pt x="169122" y="167759"/>
                  <a:pt x="160638" y="159454"/>
                  <a:pt x="126521" y="189781"/>
                </a:cubicBezTo>
                <a:cubicBezTo>
                  <a:pt x="90997" y="221358"/>
                  <a:pt x="93211" y="225369"/>
                  <a:pt x="63260" y="270294"/>
                </a:cubicBezTo>
                <a:cubicBezTo>
                  <a:pt x="67094" y="337388"/>
                  <a:pt x="69736" y="404561"/>
                  <a:pt x="74762" y="471577"/>
                </a:cubicBezTo>
                <a:cubicBezTo>
                  <a:pt x="75493" y="481324"/>
                  <a:pt x="80792" y="490561"/>
                  <a:pt x="80513" y="500332"/>
                </a:cubicBezTo>
                <a:cubicBezTo>
                  <a:pt x="76951" y="625017"/>
                  <a:pt x="69489" y="749562"/>
                  <a:pt x="63260" y="874143"/>
                </a:cubicBezTo>
                <a:cubicBezTo>
                  <a:pt x="61821" y="902926"/>
                  <a:pt x="61702" y="931895"/>
                  <a:pt x="57509" y="960407"/>
                </a:cubicBezTo>
                <a:cubicBezTo>
                  <a:pt x="52094" y="997232"/>
                  <a:pt x="42173" y="1033252"/>
                  <a:pt x="34505" y="1069675"/>
                </a:cubicBezTo>
                <a:cubicBezTo>
                  <a:pt x="33479" y="1088136"/>
                  <a:pt x="22865" y="1275730"/>
                  <a:pt x="23004" y="1288211"/>
                </a:cubicBezTo>
                <a:cubicBezTo>
                  <a:pt x="26183" y="1574301"/>
                  <a:pt x="28237" y="1590492"/>
                  <a:pt x="40256" y="1782792"/>
                </a:cubicBezTo>
                <a:cubicBezTo>
                  <a:pt x="42173" y="1855637"/>
                  <a:pt x="39828" y="1928720"/>
                  <a:pt x="46007" y="2001328"/>
                </a:cubicBezTo>
                <a:cubicBezTo>
                  <a:pt x="47549" y="2019449"/>
                  <a:pt x="57912" y="2035705"/>
                  <a:pt x="63260" y="2053087"/>
                </a:cubicBezTo>
                <a:cubicBezTo>
                  <a:pt x="65584" y="2060641"/>
                  <a:pt x="67461" y="2068340"/>
                  <a:pt x="69011" y="2076091"/>
                </a:cubicBezTo>
                <a:cubicBezTo>
                  <a:pt x="75131" y="2106691"/>
                  <a:pt x="80144" y="2137506"/>
                  <a:pt x="86264" y="2168106"/>
                </a:cubicBezTo>
                <a:cubicBezTo>
                  <a:pt x="103595" y="2254758"/>
                  <a:pt x="93409" y="2185006"/>
                  <a:pt x="103517" y="2265872"/>
                </a:cubicBezTo>
                <a:cubicBezTo>
                  <a:pt x="100223" y="2298811"/>
                  <a:pt x="82122" y="2411850"/>
                  <a:pt x="97766" y="2455653"/>
                </a:cubicBezTo>
                <a:cubicBezTo>
                  <a:pt x="100424" y="2463097"/>
                  <a:pt x="113102" y="2459487"/>
                  <a:pt x="120770" y="2461404"/>
                </a:cubicBezTo>
                <a:cubicBezTo>
                  <a:pt x="185374" y="2547543"/>
                  <a:pt x="95205" y="2429575"/>
                  <a:pt x="155275" y="2501660"/>
                </a:cubicBezTo>
                <a:cubicBezTo>
                  <a:pt x="169268" y="2518451"/>
                  <a:pt x="182205" y="2536094"/>
                  <a:pt x="195532" y="2553419"/>
                </a:cubicBezTo>
                <a:cubicBezTo>
                  <a:pt x="201376" y="2561016"/>
                  <a:pt x="206007" y="2569645"/>
                  <a:pt x="212785" y="2576423"/>
                </a:cubicBezTo>
                <a:cubicBezTo>
                  <a:pt x="220453" y="2584091"/>
                  <a:pt x="228409" y="2591480"/>
                  <a:pt x="235788" y="2599426"/>
                </a:cubicBezTo>
                <a:cubicBezTo>
                  <a:pt x="253337" y="2618325"/>
                  <a:pt x="268824" y="2639199"/>
                  <a:pt x="287547" y="2656936"/>
                </a:cubicBezTo>
                <a:cubicBezTo>
                  <a:pt x="317427" y="2685243"/>
                  <a:pt x="333929" y="2695525"/>
                  <a:pt x="362309" y="2714445"/>
                </a:cubicBezTo>
                <a:cubicBezTo>
                  <a:pt x="402394" y="2781254"/>
                  <a:pt x="381007" y="2756147"/>
                  <a:pt x="419819" y="2794958"/>
                </a:cubicBezTo>
                <a:cubicBezTo>
                  <a:pt x="423653" y="2839049"/>
                  <a:pt x="417328" y="2885243"/>
                  <a:pt x="431321" y="2927230"/>
                </a:cubicBezTo>
                <a:cubicBezTo>
                  <a:pt x="433238" y="2932981"/>
                  <a:pt x="434064" y="2939220"/>
                  <a:pt x="437071" y="2944483"/>
                </a:cubicBezTo>
                <a:cubicBezTo>
                  <a:pt x="441826" y="2952805"/>
                  <a:pt x="448573" y="2959819"/>
                  <a:pt x="454324" y="2967487"/>
                </a:cubicBezTo>
                <a:cubicBezTo>
                  <a:pt x="448573" y="3003910"/>
                  <a:pt x="447807" y="3041479"/>
                  <a:pt x="437071" y="3076755"/>
                </a:cubicBezTo>
                <a:cubicBezTo>
                  <a:pt x="433914" y="3087129"/>
                  <a:pt x="423616" y="3094617"/>
                  <a:pt x="414068" y="3099758"/>
                </a:cubicBezTo>
                <a:cubicBezTo>
                  <a:pt x="373279" y="3121721"/>
                  <a:pt x="331325" y="3142114"/>
                  <a:pt x="287547" y="3157268"/>
                </a:cubicBezTo>
                <a:lnTo>
                  <a:pt x="138022" y="3209026"/>
                </a:lnTo>
                <a:cubicBezTo>
                  <a:pt x="129831" y="3233601"/>
                  <a:pt x="119310" y="3266587"/>
                  <a:pt x="109268" y="3289540"/>
                </a:cubicBezTo>
                <a:cubicBezTo>
                  <a:pt x="102396" y="3305248"/>
                  <a:pt x="93228" y="3319879"/>
                  <a:pt x="86264" y="3335547"/>
                </a:cubicBezTo>
                <a:cubicBezTo>
                  <a:pt x="77879" y="3354414"/>
                  <a:pt x="72168" y="3374431"/>
                  <a:pt x="63260" y="3393057"/>
                </a:cubicBezTo>
                <a:cubicBezTo>
                  <a:pt x="-5686" y="3537218"/>
                  <a:pt x="46988" y="3401865"/>
                  <a:pt x="0" y="3531079"/>
                </a:cubicBezTo>
                <a:cubicBezTo>
                  <a:pt x="8406" y="3581518"/>
                  <a:pt x="18505" y="3651458"/>
                  <a:pt x="34505" y="3697857"/>
                </a:cubicBezTo>
                <a:cubicBezTo>
                  <a:pt x="42889" y="3722171"/>
                  <a:pt x="57509" y="3743864"/>
                  <a:pt x="69011" y="3766868"/>
                </a:cubicBezTo>
                <a:cubicBezTo>
                  <a:pt x="80513" y="3839713"/>
                  <a:pt x="93292" y="3912368"/>
                  <a:pt x="103517" y="3985404"/>
                </a:cubicBezTo>
                <a:cubicBezTo>
                  <a:pt x="106717" y="4008264"/>
                  <a:pt x="106405" y="4031510"/>
                  <a:pt x="109268" y="4054415"/>
                </a:cubicBezTo>
                <a:cubicBezTo>
                  <a:pt x="123239" y="4166181"/>
                  <a:pt x="115851" y="4137422"/>
                  <a:pt x="138022" y="4203940"/>
                </a:cubicBezTo>
                <a:cubicBezTo>
                  <a:pt x="139939" y="4272951"/>
                  <a:pt x="133006" y="4342781"/>
                  <a:pt x="143773" y="4410974"/>
                </a:cubicBezTo>
                <a:cubicBezTo>
                  <a:pt x="145383" y="4421171"/>
                  <a:pt x="164269" y="4416281"/>
                  <a:pt x="172528" y="4422475"/>
                </a:cubicBezTo>
                <a:cubicBezTo>
                  <a:pt x="187710" y="4433861"/>
                  <a:pt x="212785" y="4462732"/>
                  <a:pt x="212785" y="4462732"/>
                </a:cubicBezTo>
                <a:cubicBezTo>
                  <a:pt x="222370" y="4483819"/>
                  <a:pt x="229622" y="4506130"/>
                  <a:pt x="241539" y="4525992"/>
                </a:cubicBezTo>
                <a:cubicBezTo>
                  <a:pt x="246116" y="4533620"/>
                  <a:pt x="278146" y="4562071"/>
                  <a:pt x="287547" y="4566249"/>
                </a:cubicBezTo>
                <a:cubicBezTo>
                  <a:pt x="296479" y="4570219"/>
                  <a:pt x="306819" y="4569629"/>
                  <a:pt x="316302" y="4572000"/>
                </a:cubicBezTo>
                <a:cubicBezTo>
                  <a:pt x="345173" y="4579218"/>
                  <a:pt x="372936" y="4592226"/>
                  <a:pt x="402566" y="4595004"/>
                </a:cubicBezTo>
                <a:cubicBezTo>
                  <a:pt x="618779" y="4615274"/>
                  <a:pt x="835803" y="4625675"/>
                  <a:pt x="1052422" y="4641011"/>
                </a:cubicBezTo>
                <a:cubicBezTo>
                  <a:pt x="1125267" y="4654430"/>
                  <a:pt x="1196949" y="4678227"/>
                  <a:pt x="1270958" y="4681268"/>
                </a:cubicBezTo>
                <a:cubicBezTo>
                  <a:pt x="1338432" y="4684041"/>
                  <a:pt x="1406439" y="4673449"/>
                  <a:pt x="1472241" y="4658264"/>
                </a:cubicBezTo>
                <a:cubicBezTo>
                  <a:pt x="1484201" y="4655504"/>
                  <a:pt x="1483045" y="4630865"/>
                  <a:pt x="1495245" y="4629509"/>
                </a:cubicBezTo>
                <a:cubicBezTo>
                  <a:pt x="1590527" y="4618922"/>
                  <a:pt x="1686943" y="4625675"/>
                  <a:pt x="1782792" y="4623758"/>
                </a:cubicBezTo>
                <a:cubicBezTo>
                  <a:pt x="1798128" y="4612256"/>
                  <a:pt x="1810146" y="4593671"/>
                  <a:pt x="1828800" y="4589253"/>
                </a:cubicBezTo>
                <a:cubicBezTo>
                  <a:pt x="1885040" y="4575933"/>
                  <a:pt x="2001328" y="4572000"/>
                  <a:pt x="2001328" y="4572000"/>
                </a:cubicBezTo>
                <a:cubicBezTo>
                  <a:pt x="2029678" y="4564912"/>
                  <a:pt x="2038779" y="4563562"/>
                  <a:pt x="2070339" y="4548996"/>
                </a:cubicBezTo>
                <a:cubicBezTo>
                  <a:pt x="2080488" y="4544312"/>
                  <a:pt x="2089509" y="4537494"/>
                  <a:pt x="2099094" y="4531743"/>
                </a:cubicBezTo>
                <a:cubicBezTo>
                  <a:pt x="2130539" y="4486823"/>
                  <a:pt x="2151331" y="4461656"/>
                  <a:pt x="2173856" y="4410974"/>
                </a:cubicBezTo>
                <a:cubicBezTo>
                  <a:pt x="2179524" y="4398221"/>
                  <a:pt x="2181524" y="4384136"/>
                  <a:pt x="2185358" y="4370717"/>
                </a:cubicBezTo>
                <a:cubicBezTo>
                  <a:pt x="2181524" y="4324709"/>
                  <a:pt x="2177944" y="4278680"/>
                  <a:pt x="2173856" y="4232694"/>
                </a:cubicBezTo>
                <a:cubicBezTo>
                  <a:pt x="2170276" y="4192414"/>
                  <a:pt x="2160769" y="4152332"/>
                  <a:pt x="2162354" y="4111924"/>
                </a:cubicBezTo>
                <a:cubicBezTo>
                  <a:pt x="2168455" y="3956343"/>
                  <a:pt x="2177744" y="3800621"/>
                  <a:pt x="2196860" y="3646098"/>
                </a:cubicBezTo>
                <a:cubicBezTo>
                  <a:pt x="2207639" y="3558973"/>
                  <a:pt x="2235399" y="3561776"/>
                  <a:pt x="2271622" y="3496574"/>
                </a:cubicBezTo>
                <a:cubicBezTo>
                  <a:pt x="2279576" y="3482256"/>
                  <a:pt x="2280359" y="3464557"/>
                  <a:pt x="2288875" y="3450566"/>
                </a:cubicBezTo>
                <a:cubicBezTo>
                  <a:pt x="2307415" y="3420107"/>
                  <a:pt x="2334103" y="3395064"/>
                  <a:pt x="2352136" y="3364302"/>
                </a:cubicBezTo>
                <a:cubicBezTo>
                  <a:pt x="2366902" y="3339113"/>
                  <a:pt x="2376159" y="3311041"/>
                  <a:pt x="2386641" y="3283789"/>
                </a:cubicBezTo>
                <a:cubicBezTo>
                  <a:pt x="2458187" y="3097768"/>
                  <a:pt x="2437250" y="3145619"/>
                  <a:pt x="2484407" y="2915728"/>
                </a:cubicBezTo>
                <a:cubicBezTo>
                  <a:pt x="2501368" y="2601958"/>
                  <a:pt x="2505717" y="2607296"/>
                  <a:pt x="2490158" y="2191109"/>
                </a:cubicBezTo>
                <a:cubicBezTo>
                  <a:pt x="2488851" y="2156152"/>
                  <a:pt x="2478656" y="2122098"/>
                  <a:pt x="2472905" y="2087592"/>
                </a:cubicBezTo>
                <a:cubicBezTo>
                  <a:pt x="2465958" y="1990339"/>
                  <a:pt x="2458204" y="1932127"/>
                  <a:pt x="2478656" y="1823049"/>
                </a:cubicBezTo>
                <a:cubicBezTo>
                  <a:pt x="2484826" y="1790144"/>
                  <a:pt x="2505494" y="1761706"/>
                  <a:pt x="2518913" y="1731034"/>
                </a:cubicBezTo>
                <a:cubicBezTo>
                  <a:pt x="2536097" y="1645114"/>
                  <a:pt x="2559170" y="1555235"/>
                  <a:pt x="2559170" y="1466491"/>
                </a:cubicBezTo>
                <a:cubicBezTo>
                  <a:pt x="2559170" y="1397373"/>
                  <a:pt x="2553815" y="1328301"/>
                  <a:pt x="2547668" y="1259457"/>
                </a:cubicBezTo>
                <a:cubicBezTo>
                  <a:pt x="2544220" y="1220842"/>
                  <a:pt x="2540258" y="1181936"/>
                  <a:pt x="2530415" y="1144438"/>
                </a:cubicBezTo>
                <a:cubicBezTo>
                  <a:pt x="2499926" y="1028290"/>
                  <a:pt x="2467055" y="912551"/>
                  <a:pt x="2426898" y="799381"/>
                </a:cubicBezTo>
                <a:cubicBezTo>
                  <a:pt x="2349636" y="581645"/>
                  <a:pt x="2380960" y="681733"/>
                  <a:pt x="2329132" y="500332"/>
                </a:cubicBezTo>
                <a:cubicBezTo>
                  <a:pt x="2321002" y="410900"/>
                  <a:pt x="2316238" y="344547"/>
                  <a:pt x="2294626" y="247291"/>
                </a:cubicBezTo>
                <a:cubicBezTo>
                  <a:pt x="2285421" y="205867"/>
                  <a:pt x="2271378" y="165397"/>
                  <a:pt x="2254370" y="126521"/>
                </a:cubicBezTo>
                <a:cubicBezTo>
                  <a:pt x="2244352" y="103622"/>
                  <a:pt x="2233090" y="79526"/>
                  <a:pt x="2214113" y="63260"/>
                </a:cubicBezTo>
                <a:cubicBezTo>
                  <a:pt x="2201021" y="52038"/>
                  <a:pt x="2111343" y="9966"/>
                  <a:pt x="2081841" y="5751"/>
                </a:cubicBezTo>
                <a:cubicBezTo>
                  <a:pt x="2045734" y="593"/>
                  <a:pt x="2008996" y="1917"/>
                  <a:pt x="1972573" y="0"/>
                </a:cubicBezTo>
                <a:cubicBezTo>
                  <a:pt x="1761705" y="9585"/>
                  <a:pt x="1550603" y="14943"/>
                  <a:pt x="1339970" y="28755"/>
                </a:cubicBezTo>
                <a:cubicBezTo>
                  <a:pt x="1316309" y="30307"/>
                  <a:pt x="1294347" y="42109"/>
                  <a:pt x="1270958" y="46007"/>
                </a:cubicBezTo>
                <a:cubicBezTo>
                  <a:pt x="1236712" y="51714"/>
                  <a:pt x="1201891" y="53203"/>
                  <a:pt x="1167441" y="57509"/>
                </a:cubicBezTo>
                <a:cubicBezTo>
                  <a:pt x="1024752" y="75345"/>
                  <a:pt x="1291886" y="47365"/>
                  <a:pt x="1075426" y="69011"/>
                </a:cubicBezTo>
                <a:cubicBezTo>
                  <a:pt x="1044754" y="76679"/>
                  <a:pt x="1014498" y="86258"/>
                  <a:pt x="983411" y="92015"/>
                </a:cubicBezTo>
                <a:cubicBezTo>
                  <a:pt x="962591" y="95871"/>
                  <a:pt x="941161" y="95140"/>
                  <a:pt x="920151" y="97766"/>
                </a:cubicBezTo>
                <a:cubicBezTo>
                  <a:pt x="910452" y="98978"/>
                  <a:pt x="900981" y="101600"/>
                  <a:pt x="891396" y="103517"/>
                </a:cubicBezTo>
                <a:cubicBezTo>
                  <a:pt x="844766" y="126832"/>
                  <a:pt x="869620" y="118951"/>
                  <a:pt x="816634" y="126521"/>
                </a:cubicBezTo>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extBox 5">
            <a:extLst>
              <a:ext uri="{FF2B5EF4-FFF2-40B4-BE49-F238E27FC236}">
                <a16:creationId xmlns:a16="http://schemas.microsoft.com/office/drawing/2014/main" id="{5A369F34-5860-46D3-9C02-2E54694FD983}"/>
              </a:ext>
            </a:extLst>
          </p:cNvPr>
          <p:cNvSpPr txBox="1"/>
          <p:nvPr/>
        </p:nvSpPr>
        <p:spPr>
          <a:xfrm>
            <a:off x="8091226" y="538936"/>
            <a:ext cx="2300729" cy="5062924"/>
          </a:xfrm>
          <a:prstGeom prst="rect">
            <a:avLst/>
          </a:prstGeom>
          <a:noFill/>
        </p:spPr>
        <p:txBody>
          <a:bodyPr wrap="square" rtlCol="0">
            <a:spAutoFit/>
          </a:bodyPr>
          <a:lstStyle/>
          <a:p>
            <a:pPr marL="285750" indent="-285750">
              <a:buFont typeface="Arial" panose="020B0604020202020204" pitchFamily="34" charset="0"/>
              <a:buChar char="•"/>
            </a:pPr>
            <a:r>
              <a:rPr lang="en-GB" sz="1700" dirty="0"/>
              <a:t>A distributed network with a high degree of connectivity</a:t>
            </a:r>
          </a:p>
          <a:p>
            <a:pPr marL="285750" indent="-285750">
              <a:buFont typeface="Arial" panose="020B0604020202020204" pitchFamily="34" charset="0"/>
              <a:buChar char="•"/>
            </a:pPr>
            <a:r>
              <a:rPr lang="en-GB" sz="1700" dirty="0"/>
              <a:t>High degree of interaction – everyone is talking to one another</a:t>
            </a:r>
          </a:p>
          <a:p>
            <a:pPr marL="285750" indent="-285750">
              <a:buFont typeface="Arial" panose="020B0604020202020204" pitchFamily="34" charset="0"/>
              <a:buChar char="•"/>
            </a:pPr>
            <a:r>
              <a:rPr lang="en-GB" sz="1700" dirty="0"/>
              <a:t>Dense clusters and groupings also indicate a high degree of collaboration</a:t>
            </a:r>
          </a:p>
          <a:p>
            <a:pPr marL="285750" indent="-285750">
              <a:buFont typeface="Arial" panose="020B0604020202020204" pitchFamily="34" charset="0"/>
              <a:buChar char="•"/>
            </a:pPr>
            <a:r>
              <a:rPr lang="en-GB" sz="1700" dirty="0"/>
              <a:t>High degree of connectivity associated with high capacity to facilitate knowledge exchange and learning</a:t>
            </a:r>
          </a:p>
        </p:txBody>
      </p:sp>
    </p:spTree>
    <p:extLst>
      <p:ext uri="{BB962C8B-B14F-4D97-AF65-F5344CB8AC3E}">
        <p14:creationId xmlns:p14="http://schemas.microsoft.com/office/powerpoint/2010/main" val="5253725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96F8AB1-45E0-4675-8E88-07FBC6E529E6}"/>
              </a:ext>
            </a:extLst>
          </p:cNvPr>
          <p:cNvPicPr>
            <a:picLocks noChangeAspect="1"/>
          </p:cNvPicPr>
          <p:nvPr/>
        </p:nvPicPr>
        <p:blipFill>
          <a:blip r:embed="rId2"/>
          <a:stretch>
            <a:fillRect/>
          </a:stretch>
        </p:blipFill>
        <p:spPr>
          <a:xfrm>
            <a:off x="1236958" y="107340"/>
            <a:ext cx="9144000" cy="6336704"/>
          </a:xfrm>
          <a:prstGeom prst="rect">
            <a:avLst/>
          </a:prstGeom>
        </p:spPr>
      </p:pic>
      <p:sp>
        <p:nvSpPr>
          <p:cNvPr id="6" name="Rectangle 5">
            <a:extLst>
              <a:ext uri="{FF2B5EF4-FFF2-40B4-BE49-F238E27FC236}">
                <a16:creationId xmlns:a16="http://schemas.microsoft.com/office/drawing/2014/main" id="{BCCF6521-179F-4062-84F1-FB6847A28114}"/>
              </a:ext>
            </a:extLst>
          </p:cNvPr>
          <p:cNvSpPr/>
          <p:nvPr/>
        </p:nvSpPr>
        <p:spPr>
          <a:xfrm>
            <a:off x="7752185" y="6444044"/>
            <a:ext cx="284808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a:ea typeface="+mn-ea"/>
                <a:cs typeface="+mn-cs"/>
              </a:rPr>
              <a:t>Source: Nicola Burgess, WBS</a:t>
            </a:r>
          </a:p>
        </p:txBody>
      </p:sp>
      <p:sp>
        <p:nvSpPr>
          <p:cNvPr id="7" name="Rectangle 6">
            <a:extLst>
              <a:ext uri="{FF2B5EF4-FFF2-40B4-BE49-F238E27FC236}">
                <a16:creationId xmlns:a16="http://schemas.microsoft.com/office/drawing/2014/main" id="{5EFA9B8D-125F-4669-BE1C-99CEFA8E6B6A}"/>
              </a:ext>
            </a:extLst>
          </p:cNvPr>
          <p:cNvSpPr/>
          <p:nvPr/>
        </p:nvSpPr>
        <p:spPr>
          <a:xfrm>
            <a:off x="1764602" y="698641"/>
            <a:ext cx="5487338"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70C0"/>
                </a:solidFill>
                <a:effectLst/>
                <a:uLnTx/>
                <a:uFillTx/>
                <a:latin typeface="Calibri"/>
                <a:ea typeface="+mn-ea"/>
                <a:cs typeface="+mn-cs"/>
              </a:rPr>
              <a:t>Organisation D: “Special measures”</a:t>
            </a:r>
          </a:p>
        </p:txBody>
      </p:sp>
      <p:sp>
        <p:nvSpPr>
          <p:cNvPr id="2" name="Rectangle 1">
            <a:extLst>
              <a:ext uri="{FF2B5EF4-FFF2-40B4-BE49-F238E27FC236}">
                <a16:creationId xmlns:a16="http://schemas.microsoft.com/office/drawing/2014/main" id="{532A7077-1EB6-48A7-9DDF-DC3A11AB2BDC}"/>
              </a:ext>
            </a:extLst>
          </p:cNvPr>
          <p:cNvSpPr/>
          <p:nvPr/>
        </p:nvSpPr>
        <p:spPr>
          <a:xfrm>
            <a:off x="2135560" y="5373216"/>
            <a:ext cx="4248472"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 name="Freeform: Shape 3">
            <a:extLst>
              <a:ext uri="{FF2B5EF4-FFF2-40B4-BE49-F238E27FC236}">
                <a16:creationId xmlns:a16="http://schemas.microsoft.com/office/drawing/2014/main" id="{69F39942-4F97-412B-A312-A4B9D29C69D9}"/>
              </a:ext>
            </a:extLst>
          </p:cNvPr>
          <p:cNvSpPr/>
          <p:nvPr/>
        </p:nvSpPr>
        <p:spPr>
          <a:xfrm>
            <a:off x="7576759" y="1897812"/>
            <a:ext cx="1906547" cy="983411"/>
          </a:xfrm>
          <a:custGeom>
            <a:avLst/>
            <a:gdLst>
              <a:gd name="connsiteX0" fmla="*/ 1877793 w 1906547"/>
              <a:gd name="connsiteY0" fmla="*/ 212785 h 799381"/>
              <a:gd name="connsiteX1" fmla="*/ 1872042 w 1906547"/>
              <a:gd name="connsiteY1" fmla="*/ 184030 h 799381"/>
              <a:gd name="connsiteX2" fmla="*/ 1814532 w 1906547"/>
              <a:gd name="connsiteY2" fmla="*/ 109268 h 799381"/>
              <a:gd name="connsiteX3" fmla="*/ 1791529 w 1906547"/>
              <a:gd name="connsiteY3" fmla="*/ 92015 h 799381"/>
              <a:gd name="connsiteX4" fmla="*/ 1774276 w 1906547"/>
              <a:gd name="connsiteY4" fmla="*/ 74762 h 799381"/>
              <a:gd name="connsiteX5" fmla="*/ 1762774 w 1906547"/>
              <a:gd name="connsiteY5" fmla="*/ 51758 h 799381"/>
              <a:gd name="connsiteX6" fmla="*/ 1688012 w 1906547"/>
              <a:gd name="connsiteY6" fmla="*/ 17253 h 799381"/>
              <a:gd name="connsiteX7" fmla="*/ 1590246 w 1906547"/>
              <a:gd name="connsiteY7" fmla="*/ 23004 h 799381"/>
              <a:gd name="connsiteX8" fmla="*/ 1544238 w 1906547"/>
              <a:gd name="connsiteY8" fmla="*/ 34505 h 799381"/>
              <a:gd name="connsiteX9" fmla="*/ 928887 w 1906547"/>
              <a:gd name="connsiteY9" fmla="*/ 17253 h 799381"/>
              <a:gd name="connsiteX10" fmla="*/ 836872 w 1906547"/>
              <a:gd name="connsiteY10" fmla="*/ 5751 h 799381"/>
              <a:gd name="connsiteX11" fmla="*/ 635589 w 1906547"/>
              <a:gd name="connsiteY11" fmla="*/ 0 h 799381"/>
              <a:gd name="connsiteX12" fmla="*/ 440057 w 1906547"/>
              <a:gd name="connsiteY12" fmla="*/ 11502 h 799381"/>
              <a:gd name="connsiteX13" fmla="*/ 399800 w 1906547"/>
              <a:gd name="connsiteY13" fmla="*/ 23004 h 799381"/>
              <a:gd name="connsiteX14" fmla="*/ 313536 w 1906547"/>
              <a:gd name="connsiteY14" fmla="*/ 51758 h 799381"/>
              <a:gd name="connsiteX15" fmla="*/ 221521 w 1906547"/>
              <a:gd name="connsiteY15" fmla="*/ 80513 h 799381"/>
              <a:gd name="connsiteX16" fmla="*/ 164012 w 1906547"/>
              <a:gd name="connsiteY16" fmla="*/ 57509 h 799381"/>
              <a:gd name="connsiteX17" fmla="*/ 77747 w 1906547"/>
              <a:gd name="connsiteY17" fmla="*/ 40256 h 799381"/>
              <a:gd name="connsiteX18" fmla="*/ 60495 w 1906547"/>
              <a:gd name="connsiteY18" fmla="*/ 34505 h 799381"/>
              <a:gd name="connsiteX19" fmla="*/ 48993 w 1906547"/>
              <a:gd name="connsiteY19" fmla="*/ 80513 h 799381"/>
              <a:gd name="connsiteX20" fmla="*/ 31740 w 1906547"/>
              <a:gd name="connsiteY20" fmla="*/ 120770 h 799381"/>
              <a:gd name="connsiteX21" fmla="*/ 14487 w 1906547"/>
              <a:gd name="connsiteY21" fmla="*/ 161026 h 799381"/>
              <a:gd name="connsiteX22" fmla="*/ 8736 w 1906547"/>
              <a:gd name="connsiteY22" fmla="*/ 184030 h 799381"/>
              <a:gd name="connsiteX23" fmla="*/ 8736 w 1906547"/>
              <a:gd name="connsiteY23" fmla="*/ 506083 h 799381"/>
              <a:gd name="connsiteX24" fmla="*/ 14487 w 1906547"/>
              <a:gd name="connsiteY24" fmla="*/ 523336 h 799381"/>
              <a:gd name="connsiteX25" fmla="*/ 43242 w 1906547"/>
              <a:gd name="connsiteY25" fmla="*/ 552090 h 799381"/>
              <a:gd name="connsiteX26" fmla="*/ 66246 w 1906547"/>
              <a:gd name="connsiteY26" fmla="*/ 580845 h 799381"/>
              <a:gd name="connsiteX27" fmla="*/ 71996 w 1906547"/>
              <a:gd name="connsiteY27" fmla="*/ 603849 h 799381"/>
              <a:gd name="connsiteX28" fmla="*/ 135257 w 1906547"/>
              <a:gd name="connsiteY28" fmla="*/ 661358 h 799381"/>
              <a:gd name="connsiteX29" fmla="*/ 192766 w 1906547"/>
              <a:gd name="connsiteY29" fmla="*/ 724619 h 799381"/>
              <a:gd name="connsiteX30" fmla="*/ 210019 w 1906547"/>
              <a:gd name="connsiteY30" fmla="*/ 741872 h 799381"/>
              <a:gd name="connsiteX31" fmla="*/ 365295 w 1906547"/>
              <a:gd name="connsiteY31" fmla="*/ 770626 h 799381"/>
              <a:gd name="connsiteX32" fmla="*/ 468812 w 1906547"/>
              <a:gd name="connsiteY32" fmla="*/ 799381 h 799381"/>
              <a:gd name="connsiteX33" fmla="*/ 716102 w 1906547"/>
              <a:gd name="connsiteY33" fmla="*/ 793630 h 799381"/>
              <a:gd name="connsiteX34" fmla="*/ 934638 w 1906547"/>
              <a:gd name="connsiteY34" fmla="*/ 787879 h 799381"/>
              <a:gd name="connsiteX35" fmla="*/ 974895 w 1906547"/>
              <a:gd name="connsiteY35" fmla="*/ 764875 h 799381"/>
              <a:gd name="connsiteX36" fmla="*/ 1164676 w 1906547"/>
              <a:gd name="connsiteY36" fmla="*/ 713117 h 799381"/>
              <a:gd name="connsiteX37" fmla="*/ 1193430 w 1906547"/>
              <a:gd name="connsiteY37" fmla="*/ 695864 h 799381"/>
              <a:gd name="connsiteX38" fmla="*/ 1250940 w 1906547"/>
              <a:gd name="connsiteY38" fmla="*/ 598098 h 799381"/>
              <a:gd name="connsiteX39" fmla="*/ 1273944 w 1906547"/>
              <a:gd name="connsiteY39" fmla="*/ 580845 h 799381"/>
              <a:gd name="connsiteX40" fmla="*/ 1342955 w 1906547"/>
              <a:gd name="connsiteY40" fmla="*/ 575094 h 799381"/>
              <a:gd name="connsiteX41" fmla="*/ 1452223 w 1906547"/>
              <a:gd name="connsiteY41" fmla="*/ 580845 h 799381"/>
              <a:gd name="connsiteX42" fmla="*/ 1521234 w 1906547"/>
              <a:gd name="connsiteY42" fmla="*/ 609600 h 799381"/>
              <a:gd name="connsiteX43" fmla="*/ 1619000 w 1906547"/>
              <a:gd name="connsiteY43" fmla="*/ 632604 h 799381"/>
              <a:gd name="connsiteX44" fmla="*/ 1797280 w 1906547"/>
              <a:gd name="connsiteY44" fmla="*/ 598098 h 799381"/>
              <a:gd name="connsiteX45" fmla="*/ 1808781 w 1906547"/>
              <a:gd name="connsiteY45" fmla="*/ 534838 h 799381"/>
              <a:gd name="connsiteX46" fmla="*/ 1814532 w 1906547"/>
              <a:gd name="connsiteY46" fmla="*/ 488830 h 799381"/>
              <a:gd name="connsiteX47" fmla="*/ 1849038 w 1906547"/>
              <a:gd name="connsiteY47" fmla="*/ 402566 h 799381"/>
              <a:gd name="connsiteX48" fmla="*/ 1889295 w 1906547"/>
              <a:gd name="connsiteY48" fmla="*/ 350807 h 799381"/>
              <a:gd name="connsiteX49" fmla="*/ 1906547 w 1906547"/>
              <a:gd name="connsiteY49" fmla="*/ 310551 h 799381"/>
              <a:gd name="connsiteX50" fmla="*/ 1877793 w 1906547"/>
              <a:gd name="connsiteY50" fmla="*/ 212785 h 799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06547" h="799381">
                <a:moveTo>
                  <a:pt x="1877793" y="212785"/>
                </a:moveTo>
                <a:cubicBezTo>
                  <a:pt x="1872042" y="191698"/>
                  <a:pt x="1876087" y="192929"/>
                  <a:pt x="1872042" y="184030"/>
                </a:cubicBezTo>
                <a:cubicBezTo>
                  <a:pt x="1863097" y="164351"/>
                  <a:pt x="1827526" y="122262"/>
                  <a:pt x="1814532" y="109268"/>
                </a:cubicBezTo>
                <a:cubicBezTo>
                  <a:pt x="1807755" y="102491"/>
                  <a:pt x="1798806" y="98253"/>
                  <a:pt x="1791529" y="92015"/>
                </a:cubicBezTo>
                <a:cubicBezTo>
                  <a:pt x="1785354" y="86722"/>
                  <a:pt x="1779003" y="81380"/>
                  <a:pt x="1774276" y="74762"/>
                </a:cubicBezTo>
                <a:cubicBezTo>
                  <a:pt x="1769293" y="67786"/>
                  <a:pt x="1768836" y="57820"/>
                  <a:pt x="1762774" y="51758"/>
                </a:cubicBezTo>
                <a:cubicBezTo>
                  <a:pt x="1738179" y="27164"/>
                  <a:pt x="1719831" y="26344"/>
                  <a:pt x="1688012" y="17253"/>
                </a:cubicBezTo>
                <a:cubicBezTo>
                  <a:pt x="1655423" y="19170"/>
                  <a:pt x="1622658" y="19115"/>
                  <a:pt x="1590246" y="23004"/>
                </a:cubicBezTo>
                <a:cubicBezTo>
                  <a:pt x="1574551" y="24887"/>
                  <a:pt x="1560045" y="34642"/>
                  <a:pt x="1544238" y="34505"/>
                </a:cubicBezTo>
                <a:cubicBezTo>
                  <a:pt x="1339048" y="32721"/>
                  <a:pt x="1134004" y="23004"/>
                  <a:pt x="928887" y="17253"/>
                </a:cubicBezTo>
                <a:cubicBezTo>
                  <a:pt x="890291" y="4388"/>
                  <a:pt x="907910" y="8711"/>
                  <a:pt x="836872" y="5751"/>
                </a:cubicBezTo>
                <a:cubicBezTo>
                  <a:pt x="769808" y="2957"/>
                  <a:pt x="702683" y="1917"/>
                  <a:pt x="635589" y="0"/>
                </a:cubicBezTo>
                <a:cubicBezTo>
                  <a:pt x="570412" y="3834"/>
                  <a:pt x="505038" y="5162"/>
                  <a:pt x="440057" y="11502"/>
                </a:cubicBezTo>
                <a:cubicBezTo>
                  <a:pt x="426167" y="12857"/>
                  <a:pt x="413040" y="18591"/>
                  <a:pt x="399800" y="23004"/>
                </a:cubicBezTo>
                <a:cubicBezTo>
                  <a:pt x="289034" y="59925"/>
                  <a:pt x="413587" y="23172"/>
                  <a:pt x="313536" y="51758"/>
                </a:cubicBezTo>
                <a:cubicBezTo>
                  <a:pt x="280249" y="70780"/>
                  <a:pt x="263884" y="87202"/>
                  <a:pt x="221521" y="80513"/>
                </a:cubicBezTo>
                <a:cubicBezTo>
                  <a:pt x="201127" y="77293"/>
                  <a:pt x="183599" y="64038"/>
                  <a:pt x="164012" y="57509"/>
                </a:cubicBezTo>
                <a:cubicBezTo>
                  <a:pt x="130736" y="46417"/>
                  <a:pt x="111459" y="45072"/>
                  <a:pt x="77747" y="40256"/>
                </a:cubicBezTo>
                <a:cubicBezTo>
                  <a:pt x="71996" y="38339"/>
                  <a:pt x="64018" y="29572"/>
                  <a:pt x="60495" y="34505"/>
                </a:cubicBezTo>
                <a:cubicBezTo>
                  <a:pt x="51307" y="47369"/>
                  <a:pt x="53992" y="65516"/>
                  <a:pt x="48993" y="80513"/>
                </a:cubicBezTo>
                <a:cubicBezTo>
                  <a:pt x="44376" y="94363"/>
                  <a:pt x="36729" y="107050"/>
                  <a:pt x="31740" y="120770"/>
                </a:cubicBezTo>
                <a:cubicBezTo>
                  <a:pt x="16886" y="161619"/>
                  <a:pt x="36868" y="127454"/>
                  <a:pt x="14487" y="161026"/>
                </a:cubicBezTo>
                <a:cubicBezTo>
                  <a:pt x="12570" y="168694"/>
                  <a:pt x="10035" y="176234"/>
                  <a:pt x="8736" y="184030"/>
                </a:cubicBezTo>
                <a:cubicBezTo>
                  <a:pt x="-8792" y="289198"/>
                  <a:pt x="4816" y="406119"/>
                  <a:pt x="8736" y="506083"/>
                </a:cubicBezTo>
                <a:cubicBezTo>
                  <a:pt x="8974" y="512140"/>
                  <a:pt x="10850" y="518486"/>
                  <a:pt x="14487" y="523336"/>
                </a:cubicBezTo>
                <a:cubicBezTo>
                  <a:pt x="22620" y="534180"/>
                  <a:pt x="34174" y="542015"/>
                  <a:pt x="43242" y="552090"/>
                </a:cubicBezTo>
                <a:cubicBezTo>
                  <a:pt x="51453" y="561214"/>
                  <a:pt x="58578" y="571260"/>
                  <a:pt x="66246" y="580845"/>
                </a:cubicBezTo>
                <a:cubicBezTo>
                  <a:pt x="68163" y="588513"/>
                  <a:pt x="68461" y="596779"/>
                  <a:pt x="71996" y="603849"/>
                </a:cubicBezTo>
                <a:cubicBezTo>
                  <a:pt x="85414" y="630687"/>
                  <a:pt x="112254" y="644106"/>
                  <a:pt x="135257" y="661358"/>
                </a:cubicBezTo>
                <a:cubicBezTo>
                  <a:pt x="156562" y="703968"/>
                  <a:pt x="138668" y="675438"/>
                  <a:pt x="192766" y="724619"/>
                </a:cubicBezTo>
                <a:cubicBezTo>
                  <a:pt x="198784" y="730090"/>
                  <a:pt x="202160" y="739776"/>
                  <a:pt x="210019" y="741872"/>
                </a:cubicBezTo>
                <a:cubicBezTo>
                  <a:pt x="260880" y="755435"/>
                  <a:pt x="313910" y="759207"/>
                  <a:pt x="365295" y="770626"/>
                </a:cubicBezTo>
                <a:cubicBezTo>
                  <a:pt x="400254" y="778395"/>
                  <a:pt x="434306" y="789796"/>
                  <a:pt x="468812" y="799381"/>
                </a:cubicBezTo>
                <a:lnTo>
                  <a:pt x="716102" y="793630"/>
                </a:lnTo>
                <a:cubicBezTo>
                  <a:pt x="788950" y="791831"/>
                  <a:pt x="862213" y="795926"/>
                  <a:pt x="934638" y="787879"/>
                </a:cubicBezTo>
                <a:cubicBezTo>
                  <a:pt x="949999" y="786172"/>
                  <a:pt x="960233" y="769762"/>
                  <a:pt x="974895" y="764875"/>
                </a:cubicBezTo>
                <a:cubicBezTo>
                  <a:pt x="1076391" y="731043"/>
                  <a:pt x="1077752" y="746921"/>
                  <a:pt x="1164676" y="713117"/>
                </a:cubicBezTo>
                <a:cubicBezTo>
                  <a:pt x="1175094" y="709066"/>
                  <a:pt x="1183845" y="701615"/>
                  <a:pt x="1193430" y="695864"/>
                </a:cubicBezTo>
                <a:cubicBezTo>
                  <a:pt x="1202986" y="678662"/>
                  <a:pt x="1237363" y="614691"/>
                  <a:pt x="1250940" y="598098"/>
                </a:cubicBezTo>
                <a:cubicBezTo>
                  <a:pt x="1257010" y="590680"/>
                  <a:pt x="1264645" y="583170"/>
                  <a:pt x="1273944" y="580845"/>
                </a:cubicBezTo>
                <a:cubicBezTo>
                  <a:pt x="1296338" y="575246"/>
                  <a:pt x="1319951" y="577011"/>
                  <a:pt x="1342955" y="575094"/>
                </a:cubicBezTo>
                <a:cubicBezTo>
                  <a:pt x="1379378" y="577011"/>
                  <a:pt x="1416414" y="573914"/>
                  <a:pt x="1452223" y="580845"/>
                </a:cubicBezTo>
                <a:cubicBezTo>
                  <a:pt x="1476690" y="585581"/>
                  <a:pt x="1497433" y="602213"/>
                  <a:pt x="1521234" y="609600"/>
                </a:cubicBezTo>
                <a:cubicBezTo>
                  <a:pt x="1553208" y="619523"/>
                  <a:pt x="1586411" y="624936"/>
                  <a:pt x="1619000" y="632604"/>
                </a:cubicBezTo>
                <a:cubicBezTo>
                  <a:pt x="1665151" y="629054"/>
                  <a:pt x="1761835" y="626454"/>
                  <a:pt x="1797280" y="598098"/>
                </a:cubicBezTo>
                <a:cubicBezTo>
                  <a:pt x="1814016" y="584709"/>
                  <a:pt x="1805439" y="556008"/>
                  <a:pt x="1808781" y="534838"/>
                </a:cubicBezTo>
                <a:cubicBezTo>
                  <a:pt x="1811191" y="519572"/>
                  <a:pt x="1810784" y="503824"/>
                  <a:pt x="1814532" y="488830"/>
                </a:cubicBezTo>
                <a:cubicBezTo>
                  <a:pt x="1818117" y="474490"/>
                  <a:pt x="1842085" y="417466"/>
                  <a:pt x="1849038" y="402566"/>
                </a:cubicBezTo>
                <a:cubicBezTo>
                  <a:pt x="1872723" y="351813"/>
                  <a:pt x="1856493" y="361741"/>
                  <a:pt x="1889295" y="350807"/>
                </a:cubicBezTo>
                <a:cubicBezTo>
                  <a:pt x="1891541" y="346316"/>
                  <a:pt x="1906547" y="319012"/>
                  <a:pt x="1906547" y="310551"/>
                </a:cubicBezTo>
                <a:cubicBezTo>
                  <a:pt x="1906547" y="272163"/>
                  <a:pt x="1883544" y="233872"/>
                  <a:pt x="1877793" y="21278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76D23313-203B-476A-A1E0-735625D51491}"/>
              </a:ext>
            </a:extLst>
          </p:cNvPr>
          <p:cNvSpPr/>
          <p:nvPr/>
        </p:nvSpPr>
        <p:spPr>
          <a:xfrm rot="2050306">
            <a:off x="9216484" y="1762664"/>
            <a:ext cx="80513" cy="2242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Freeform: Shape 10">
            <a:extLst>
              <a:ext uri="{FF2B5EF4-FFF2-40B4-BE49-F238E27FC236}">
                <a16:creationId xmlns:a16="http://schemas.microsoft.com/office/drawing/2014/main" id="{60E00D6A-8123-4626-AC00-FB23A352F967}"/>
              </a:ext>
            </a:extLst>
          </p:cNvPr>
          <p:cNvSpPr/>
          <p:nvPr/>
        </p:nvSpPr>
        <p:spPr>
          <a:xfrm>
            <a:off x="7165675" y="310551"/>
            <a:ext cx="2496935" cy="5290868"/>
          </a:xfrm>
          <a:custGeom>
            <a:avLst/>
            <a:gdLst>
              <a:gd name="connsiteX0" fmla="*/ 1506748 w 2496935"/>
              <a:gd name="connsiteY0" fmla="*/ 2196860 h 5290868"/>
              <a:gd name="connsiteX1" fmla="*/ 1558506 w 2496935"/>
              <a:gd name="connsiteY1" fmla="*/ 2202611 h 5290868"/>
              <a:gd name="connsiteX2" fmla="*/ 1926567 w 2496935"/>
              <a:gd name="connsiteY2" fmla="*/ 2053087 h 5290868"/>
              <a:gd name="connsiteX3" fmla="*/ 2122099 w 2496935"/>
              <a:gd name="connsiteY3" fmla="*/ 2012830 h 5290868"/>
              <a:gd name="connsiteX4" fmla="*/ 2467155 w 2496935"/>
              <a:gd name="connsiteY4" fmla="*/ 1782792 h 5290868"/>
              <a:gd name="connsiteX5" fmla="*/ 2478657 w 2496935"/>
              <a:gd name="connsiteY5" fmla="*/ 1506747 h 5290868"/>
              <a:gd name="connsiteX6" fmla="*/ 2409646 w 2496935"/>
              <a:gd name="connsiteY6" fmla="*/ 1374475 h 5290868"/>
              <a:gd name="connsiteX7" fmla="*/ 2306129 w 2496935"/>
              <a:gd name="connsiteY7" fmla="*/ 1138687 h 5290868"/>
              <a:gd name="connsiteX8" fmla="*/ 2300378 w 2496935"/>
              <a:gd name="connsiteY8" fmla="*/ 1086928 h 5290868"/>
              <a:gd name="connsiteX9" fmla="*/ 2380891 w 2496935"/>
              <a:gd name="connsiteY9" fmla="*/ 885645 h 5290868"/>
              <a:gd name="connsiteX10" fmla="*/ 2461404 w 2496935"/>
              <a:gd name="connsiteY10" fmla="*/ 736121 h 5290868"/>
              <a:gd name="connsiteX11" fmla="*/ 2461404 w 2496935"/>
              <a:gd name="connsiteY11" fmla="*/ 494581 h 5290868"/>
              <a:gd name="connsiteX12" fmla="*/ 2438400 w 2496935"/>
              <a:gd name="connsiteY12" fmla="*/ 414068 h 5290868"/>
              <a:gd name="connsiteX13" fmla="*/ 2369389 w 2496935"/>
              <a:gd name="connsiteY13" fmla="*/ 310551 h 5290868"/>
              <a:gd name="connsiteX14" fmla="*/ 2323382 w 2496935"/>
              <a:gd name="connsiteY14" fmla="*/ 253041 h 5290868"/>
              <a:gd name="connsiteX15" fmla="*/ 2127850 w 2496935"/>
              <a:gd name="connsiteY15" fmla="*/ 224287 h 5290868"/>
              <a:gd name="connsiteX16" fmla="*/ 1938068 w 2496935"/>
              <a:gd name="connsiteY16" fmla="*/ 184030 h 5290868"/>
              <a:gd name="connsiteX17" fmla="*/ 1633268 w 2496935"/>
              <a:gd name="connsiteY17" fmla="*/ 126521 h 5290868"/>
              <a:gd name="connsiteX18" fmla="*/ 1518250 w 2496935"/>
              <a:gd name="connsiteY18" fmla="*/ 97766 h 5290868"/>
              <a:gd name="connsiteX19" fmla="*/ 1242204 w 2496935"/>
              <a:gd name="connsiteY19" fmla="*/ 63260 h 5290868"/>
              <a:gd name="connsiteX20" fmla="*/ 1167442 w 2496935"/>
              <a:gd name="connsiteY20" fmla="*/ 40257 h 5290868"/>
              <a:gd name="connsiteX21" fmla="*/ 747623 w 2496935"/>
              <a:gd name="connsiteY21" fmla="*/ 0 h 5290868"/>
              <a:gd name="connsiteX22" fmla="*/ 575095 w 2496935"/>
              <a:gd name="connsiteY22" fmla="*/ 23004 h 5290868"/>
              <a:gd name="connsiteX23" fmla="*/ 511834 w 2496935"/>
              <a:gd name="connsiteY23" fmla="*/ 40257 h 5290868"/>
              <a:gd name="connsiteX24" fmla="*/ 425570 w 2496935"/>
              <a:gd name="connsiteY24" fmla="*/ 109268 h 5290868"/>
              <a:gd name="connsiteX25" fmla="*/ 385314 w 2496935"/>
              <a:gd name="connsiteY25" fmla="*/ 132272 h 5290868"/>
              <a:gd name="connsiteX26" fmla="*/ 316302 w 2496935"/>
              <a:gd name="connsiteY26" fmla="*/ 172528 h 5290868"/>
              <a:gd name="connsiteX27" fmla="*/ 224287 w 2496935"/>
              <a:gd name="connsiteY27" fmla="*/ 178279 h 5290868"/>
              <a:gd name="connsiteX28" fmla="*/ 109268 w 2496935"/>
              <a:gd name="connsiteY28" fmla="*/ 201283 h 5290868"/>
              <a:gd name="connsiteX29" fmla="*/ 57510 w 2496935"/>
              <a:gd name="connsiteY29" fmla="*/ 247291 h 5290868"/>
              <a:gd name="connsiteX30" fmla="*/ 28755 w 2496935"/>
              <a:gd name="connsiteY30" fmla="*/ 270294 h 5290868"/>
              <a:gd name="connsiteX31" fmla="*/ 51759 w 2496935"/>
              <a:gd name="connsiteY31" fmla="*/ 437072 h 5290868"/>
              <a:gd name="connsiteX32" fmla="*/ 74763 w 2496935"/>
              <a:gd name="connsiteY32" fmla="*/ 477328 h 5290868"/>
              <a:gd name="connsiteX33" fmla="*/ 120770 w 2496935"/>
              <a:gd name="connsiteY33" fmla="*/ 592347 h 5290868"/>
              <a:gd name="connsiteX34" fmla="*/ 103517 w 2496935"/>
              <a:gd name="connsiteY34" fmla="*/ 891396 h 5290868"/>
              <a:gd name="connsiteX35" fmla="*/ 57510 w 2496935"/>
              <a:gd name="connsiteY35" fmla="*/ 1035170 h 5290868"/>
              <a:gd name="connsiteX36" fmla="*/ 34506 w 2496935"/>
              <a:gd name="connsiteY36" fmla="*/ 1109932 h 5290868"/>
              <a:gd name="connsiteX37" fmla="*/ 23004 w 2496935"/>
              <a:gd name="connsiteY37" fmla="*/ 1196196 h 5290868"/>
              <a:gd name="connsiteX38" fmla="*/ 17253 w 2496935"/>
              <a:gd name="connsiteY38" fmla="*/ 1276709 h 5290868"/>
              <a:gd name="connsiteX39" fmla="*/ 0 w 2496935"/>
              <a:gd name="connsiteY39" fmla="*/ 1374475 h 5290868"/>
              <a:gd name="connsiteX40" fmla="*/ 97767 w 2496935"/>
              <a:gd name="connsiteY40" fmla="*/ 1690777 h 5290868"/>
              <a:gd name="connsiteX41" fmla="*/ 109268 w 2496935"/>
              <a:gd name="connsiteY41" fmla="*/ 1794294 h 5290868"/>
              <a:gd name="connsiteX42" fmla="*/ 161027 w 2496935"/>
              <a:gd name="connsiteY42" fmla="*/ 2053087 h 5290868"/>
              <a:gd name="connsiteX43" fmla="*/ 195533 w 2496935"/>
              <a:gd name="connsiteY43" fmla="*/ 2254370 h 5290868"/>
              <a:gd name="connsiteX44" fmla="*/ 201283 w 2496935"/>
              <a:gd name="connsiteY44" fmla="*/ 2311879 h 5290868"/>
              <a:gd name="connsiteX45" fmla="*/ 161027 w 2496935"/>
              <a:gd name="connsiteY45" fmla="*/ 2530415 h 5290868"/>
              <a:gd name="connsiteX46" fmla="*/ 132272 w 2496935"/>
              <a:gd name="connsiteY46" fmla="*/ 2570672 h 5290868"/>
              <a:gd name="connsiteX47" fmla="*/ 86265 w 2496935"/>
              <a:gd name="connsiteY47" fmla="*/ 2656936 h 5290868"/>
              <a:gd name="connsiteX48" fmla="*/ 86265 w 2496935"/>
              <a:gd name="connsiteY48" fmla="*/ 2978989 h 5290868"/>
              <a:gd name="connsiteX49" fmla="*/ 92016 w 2496935"/>
              <a:gd name="connsiteY49" fmla="*/ 3001992 h 5290868"/>
              <a:gd name="connsiteX50" fmla="*/ 115019 w 2496935"/>
              <a:gd name="connsiteY50" fmla="*/ 3065253 h 5290868"/>
              <a:gd name="connsiteX51" fmla="*/ 138023 w 2496935"/>
              <a:gd name="connsiteY51" fmla="*/ 3140015 h 5290868"/>
              <a:gd name="connsiteX52" fmla="*/ 143774 w 2496935"/>
              <a:gd name="connsiteY52" fmla="*/ 3180272 h 5290868"/>
              <a:gd name="connsiteX53" fmla="*/ 161027 w 2496935"/>
              <a:gd name="connsiteY53" fmla="*/ 3255034 h 5290868"/>
              <a:gd name="connsiteX54" fmla="*/ 143774 w 2496935"/>
              <a:gd name="connsiteY54" fmla="*/ 3835879 h 5290868"/>
              <a:gd name="connsiteX55" fmla="*/ 126521 w 2496935"/>
              <a:gd name="connsiteY55" fmla="*/ 3950898 h 5290868"/>
              <a:gd name="connsiteX56" fmla="*/ 120770 w 2496935"/>
              <a:gd name="connsiteY56" fmla="*/ 4014158 h 5290868"/>
              <a:gd name="connsiteX57" fmla="*/ 103517 w 2496935"/>
              <a:gd name="connsiteY57" fmla="*/ 4100423 h 5290868"/>
              <a:gd name="connsiteX58" fmla="*/ 120770 w 2496935"/>
              <a:gd name="connsiteY58" fmla="*/ 4410974 h 5290868"/>
              <a:gd name="connsiteX59" fmla="*/ 132272 w 2496935"/>
              <a:gd name="connsiteY59" fmla="*/ 5181600 h 5290868"/>
              <a:gd name="connsiteX60" fmla="*/ 166778 w 2496935"/>
              <a:gd name="connsiteY60" fmla="*/ 5221857 h 5290868"/>
              <a:gd name="connsiteX61" fmla="*/ 310551 w 2496935"/>
              <a:gd name="connsiteY61" fmla="*/ 5273615 h 5290868"/>
              <a:gd name="connsiteX62" fmla="*/ 408317 w 2496935"/>
              <a:gd name="connsiteY62" fmla="*/ 5290868 h 5290868"/>
              <a:gd name="connsiteX63" fmla="*/ 1978325 w 2496935"/>
              <a:gd name="connsiteY63" fmla="*/ 5273615 h 5290868"/>
              <a:gd name="connsiteX64" fmla="*/ 2024333 w 2496935"/>
              <a:gd name="connsiteY64" fmla="*/ 5250611 h 5290868"/>
              <a:gd name="connsiteX65" fmla="*/ 2087593 w 2496935"/>
              <a:gd name="connsiteY65" fmla="*/ 5193102 h 5290868"/>
              <a:gd name="connsiteX66" fmla="*/ 2104846 w 2496935"/>
              <a:gd name="connsiteY66" fmla="*/ 5129841 h 5290868"/>
              <a:gd name="connsiteX67" fmla="*/ 2110597 w 2496935"/>
              <a:gd name="connsiteY67" fmla="*/ 5066581 h 5290868"/>
              <a:gd name="connsiteX68" fmla="*/ 2122099 w 2496935"/>
              <a:gd name="connsiteY68" fmla="*/ 4991819 h 5290868"/>
              <a:gd name="connsiteX69" fmla="*/ 2001329 w 2496935"/>
              <a:gd name="connsiteY69" fmla="*/ 4738777 h 5290868"/>
              <a:gd name="connsiteX70" fmla="*/ 1920816 w 2496935"/>
              <a:gd name="connsiteY70" fmla="*/ 4681268 h 5290868"/>
              <a:gd name="connsiteX71" fmla="*/ 1966823 w 2496935"/>
              <a:gd name="connsiteY71" fmla="*/ 4612257 h 5290868"/>
              <a:gd name="connsiteX72" fmla="*/ 2145102 w 2496935"/>
              <a:gd name="connsiteY72" fmla="*/ 4502989 h 5290868"/>
              <a:gd name="connsiteX73" fmla="*/ 2237117 w 2496935"/>
              <a:gd name="connsiteY73" fmla="*/ 4439728 h 5290868"/>
              <a:gd name="connsiteX74" fmla="*/ 2288876 w 2496935"/>
              <a:gd name="connsiteY74" fmla="*/ 4382219 h 5290868"/>
              <a:gd name="connsiteX75" fmla="*/ 2369389 w 2496935"/>
              <a:gd name="connsiteY75" fmla="*/ 4180936 h 5290868"/>
              <a:gd name="connsiteX76" fmla="*/ 2334883 w 2496935"/>
              <a:gd name="connsiteY76" fmla="*/ 3893389 h 5290868"/>
              <a:gd name="connsiteX77" fmla="*/ 2277374 w 2496935"/>
              <a:gd name="connsiteY77" fmla="*/ 3847381 h 5290868"/>
              <a:gd name="connsiteX78" fmla="*/ 2214114 w 2496935"/>
              <a:gd name="connsiteY78" fmla="*/ 3835879 h 5290868"/>
              <a:gd name="connsiteX79" fmla="*/ 2122099 w 2496935"/>
              <a:gd name="connsiteY79" fmla="*/ 3812875 h 5290868"/>
              <a:gd name="connsiteX80" fmla="*/ 2076091 w 2496935"/>
              <a:gd name="connsiteY80" fmla="*/ 3789872 h 5290868"/>
              <a:gd name="connsiteX81" fmla="*/ 1961072 w 2496935"/>
              <a:gd name="connsiteY81" fmla="*/ 3692106 h 5290868"/>
              <a:gd name="connsiteX82" fmla="*/ 1920816 w 2496935"/>
              <a:gd name="connsiteY82" fmla="*/ 3663351 h 5290868"/>
              <a:gd name="connsiteX83" fmla="*/ 1840302 w 2496935"/>
              <a:gd name="connsiteY83" fmla="*/ 3565585 h 5290868"/>
              <a:gd name="connsiteX84" fmla="*/ 1828800 w 2496935"/>
              <a:gd name="connsiteY84" fmla="*/ 3536830 h 5290868"/>
              <a:gd name="connsiteX85" fmla="*/ 1794295 w 2496935"/>
              <a:gd name="connsiteY85" fmla="*/ 3502324 h 5290868"/>
              <a:gd name="connsiteX86" fmla="*/ 1759789 w 2496935"/>
              <a:gd name="connsiteY86" fmla="*/ 3462068 h 5290868"/>
              <a:gd name="connsiteX87" fmla="*/ 1846053 w 2496935"/>
              <a:gd name="connsiteY87" fmla="*/ 3301041 h 5290868"/>
              <a:gd name="connsiteX88" fmla="*/ 1978325 w 2496935"/>
              <a:gd name="connsiteY88" fmla="*/ 3243532 h 5290868"/>
              <a:gd name="connsiteX89" fmla="*/ 2024333 w 2496935"/>
              <a:gd name="connsiteY89" fmla="*/ 3220528 h 5290868"/>
              <a:gd name="connsiteX90" fmla="*/ 2041585 w 2496935"/>
              <a:gd name="connsiteY90" fmla="*/ 3186023 h 5290868"/>
              <a:gd name="connsiteX91" fmla="*/ 2058838 w 2496935"/>
              <a:gd name="connsiteY91" fmla="*/ 2944483 h 5290868"/>
              <a:gd name="connsiteX92" fmla="*/ 2110597 w 2496935"/>
              <a:gd name="connsiteY92" fmla="*/ 2817962 h 5290868"/>
              <a:gd name="connsiteX93" fmla="*/ 2145102 w 2496935"/>
              <a:gd name="connsiteY93" fmla="*/ 2777706 h 5290868"/>
              <a:gd name="connsiteX94" fmla="*/ 2214114 w 2496935"/>
              <a:gd name="connsiteY94" fmla="*/ 2651185 h 5290868"/>
              <a:gd name="connsiteX95" fmla="*/ 2231367 w 2496935"/>
              <a:gd name="connsiteY95" fmla="*/ 2570672 h 5290868"/>
              <a:gd name="connsiteX96" fmla="*/ 2162355 w 2496935"/>
              <a:gd name="connsiteY96" fmla="*/ 2421147 h 5290868"/>
              <a:gd name="connsiteX97" fmla="*/ 2133600 w 2496935"/>
              <a:gd name="connsiteY97" fmla="*/ 2380891 h 5290868"/>
              <a:gd name="connsiteX98" fmla="*/ 1880559 w 2496935"/>
              <a:gd name="connsiteY98" fmla="*/ 2340634 h 5290868"/>
              <a:gd name="connsiteX99" fmla="*/ 1725283 w 2496935"/>
              <a:gd name="connsiteY99" fmla="*/ 2306128 h 5290868"/>
              <a:gd name="connsiteX100" fmla="*/ 1685027 w 2496935"/>
              <a:gd name="connsiteY100" fmla="*/ 2283124 h 5290868"/>
              <a:gd name="connsiteX101" fmla="*/ 1667774 w 2496935"/>
              <a:gd name="connsiteY101" fmla="*/ 2265872 h 5290868"/>
              <a:gd name="connsiteX102" fmla="*/ 1627517 w 2496935"/>
              <a:gd name="connsiteY102" fmla="*/ 2254370 h 5290868"/>
              <a:gd name="connsiteX103" fmla="*/ 1541253 w 2496935"/>
              <a:gd name="connsiteY103" fmla="*/ 2237117 h 5290868"/>
              <a:gd name="connsiteX104" fmla="*/ 1506748 w 2496935"/>
              <a:gd name="connsiteY104" fmla="*/ 2196860 h 5290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2496935" h="5290868">
                <a:moveTo>
                  <a:pt x="1506748" y="2196860"/>
                </a:moveTo>
                <a:cubicBezTo>
                  <a:pt x="1509623" y="2191109"/>
                  <a:pt x="1541733" y="2207084"/>
                  <a:pt x="1558506" y="2202611"/>
                </a:cubicBezTo>
                <a:cubicBezTo>
                  <a:pt x="2092562" y="2060196"/>
                  <a:pt x="1480125" y="2197101"/>
                  <a:pt x="1926567" y="2053087"/>
                </a:cubicBezTo>
                <a:cubicBezTo>
                  <a:pt x="1989898" y="2032658"/>
                  <a:pt x="2056922" y="2026249"/>
                  <a:pt x="2122099" y="2012830"/>
                </a:cubicBezTo>
                <a:cubicBezTo>
                  <a:pt x="2416836" y="1833425"/>
                  <a:pt x="2308263" y="1918987"/>
                  <a:pt x="2467155" y="1782792"/>
                </a:cubicBezTo>
                <a:cubicBezTo>
                  <a:pt x="2488755" y="1670473"/>
                  <a:pt x="2515509" y="1617303"/>
                  <a:pt x="2478657" y="1506747"/>
                </a:cubicBezTo>
                <a:cubicBezTo>
                  <a:pt x="2462931" y="1459568"/>
                  <a:pt x="2430753" y="1419504"/>
                  <a:pt x="2409646" y="1374475"/>
                </a:cubicBezTo>
                <a:cubicBezTo>
                  <a:pt x="2373214" y="1296753"/>
                  <a:pt x="2306129" y="1138687"/>
                  <a:pt x="2306129" y="1138687"/>
                </a:cubicBezTo>
                <a:cubicBezTo>
                  <a:pt x="2304212" y="1121434"/>
                  <a:pt x="2297327" y="1104017"/>
                  <a:pt x="2300378" y="1086928"/>
                </a:cubicBezTo>
                <a:cubicBezTo>
                  <a:pt x="2312699" y="1017928"/>
                  <a:pt x="2346989" y="946312"/>
                  <a:pt x="2380891" y="885645"/>
                </a:cubicBezTo>
                <a:cubicBezTo>
                  <a:pt x="2465224" y="734734"/>
                  <a:pt x="2424876" y="833527"/>
                  <a:pt x="2461404" y="736121"/>
                </a:cubicBezTo>
                <a:cubicBezTo>
                  <a:pt x="2475402" y="624136"/>
                  <a:pt x="2481267" y="627002"/>
                  <a:pt x="2461404" y="494581"/>
                </a:cubicBezTo>
                <a:cubicBezTo>
                  <a:pt x="2457264" y="466978"/>
                  <a:pt x="2450882" y="439033"/>
                  <a:pt x="2438400" y="414068"/>
                </a:cubicBezTo>
                <a:cubicBezTo>
                  <a:pt x="2419854" y="376976"/>
                  <a:pt x="2393493" y="344297"/>
                  <a:pt x="2369389" y="310551"/>
                </a:cubicBezTo>
                <a:cubicBezTo>
                  <a:pt x="2355120" y="290574"/>
                  <a:pt x="2346501" y="261298"/>
                  <a:pt x="2323382" y="253041"/>
                </a:cubicBezTo>
                <a:cubicBezTo>
                  <a:pt x="2261342" y="230884"/>
                  <a:pt x="2191194" y="242385"/>
                  <a:pt x="2127850" y="224287"/>
                </a:cubicBezTo>
                <a:cubicBezTo>
                  <a:pt x="1946090" y="172356"/>
                  <a:pt x="2161821" y="230469"/>
                  <a:pt x="1938068" y="184030"/>
                </a:cubicBezTo>
                <a:cubicBezTo>
                  <a:pt x="1644174" y="123033"/>
                  <a:pt x="1843427" y="148643"/>
                  <a:pt x="1633268" y="126521"/>
                </a:cubicBezTo>
                <a:cubicBezTo>
                  <a:pt x="1594929" y="116936"/>
                  <a:pt x="1557119" y="104905"/>
                  <a:pt x="1518250" y="97766"/>
                </a:cubicBezTo>
                <a:cubicBezTo>
                  <a:pt x="1433652" y="82227"/>
                  <a:pt x="1329974" y="72499"/>
                  <a:pt x="1242204" y="63260"/>
                </a:cubicBezTo>
                <a:cubicBezTo>
                  <a:pt x="1217283" y="55592"/>
                  <a:pt x="1193113" y="44821"/>
                  <a:pt x="1167442" y="40257"/>
                </a:cubicBezTo>
                <a:cubicBezTo>
                  <a:pt x="1037512" y="17159"/>
                  <a:pt x="876420" y="9424"/>
                  <a:pt x="747623" y="0"/>
                </a:cubicBezTo>
                <a:cubicBezTo>
                  <a:pt x="690114" y="7668"/>
                  <a:pt x="632286" y="13240"/>
                  <a:pt x="575095" y="23004"/>
                </a:cubicBezTo>
                <a:cubicBezTo>
                  <a:pt x="553550" y="26683"/>
                  <a:pt x="530766" y="29335"/>
                  <a:pt x="511834" y="40257"/>
                </a:cubicBezTo>
                <a:cubicBezTo>
                  <a:pt x="479938" y="58659"/>
                  <a:pt x="457542" y="90998"/>
                  <a:pt x="425570" y="109268"/>
                </a:cubicBezTo>
                <a:cubicBezTo>
                  <a:pt x="412151" y="116936"/>
                  <a:pt x="398476" y="124172"/>
                  <a:pt x="385314" y="132272"/>
                </a:cubicBezTo>
                <a:cubicBezTo>
                  <a:pt x="371739" y="140626"/>
                  <a:pt x="333747" y="169356"/>
                  <a:pt x="316302" y="172528"/>
                </a:cubicBezTo>
                <a:cubicBezTo>
                  <a:pt x="286066" y="178025"/>
                  <a:pt x="254959" y="176362"/>
                  <a:pt x="224287" y="178279"/>
                </a:cubicBezTo>
                <a:cubicBezTo>
                  <a:pt x="185947" y="185947"/>
                  <a:pt x="146919" y="190741"/>
                  <a:pt x="109268" y="201283"/>
                </a:cubicBezTo>
                <a:cubicBezTo>
                  <a:pt x="77965" y="210048"/>
                  <a:pt x="78737" y="226064"/>
                  <a:pt x="57510" y="247291"/>
                </a:cubicBezTo>
                <a:cubicBezTo>
                  <a:pt x="48830" y="255970"/>
                  <a:pt x="38340" y="262626"/>
                  <a:pt x="28755" y="270294"/>
                </a:cubicBezTo>
                <a:cubicBezTo>
                  <a:pt x="36423" y="325887"/>
                  <a:pt x="39585" y="382289"/>
                  <a:pt x="51759" y="437072"/>
                </a:cubicBezTo>
                <a:cubicBezTo>
                  <a:pt x="55112" y="452159"/>
                  <a:pt x="67532" y="463669"/>
                  <a:pt x="74763" y="477328"/>
                </a:cubicBezTo>
                <a:cubicBezTo>
                  <a:pt x="109565" y="543066"/>
                  <a:pt x="100068" y="523342"/>
                  <a:pt x="120770" y="592347"/>
                </a:cubicBezTo>
                <a:cubicBezTo>
                  <a:pt x="119577" y="638886"/>
                  <a:pt x="124637" y="811141"/>
                  <a:pt x="103517" y="891396"/>
                </a:cubicBezTo>
                <a:cubicBezTo>
                  <a:pt x="90711" y="940058"/>
                  <a:pt x="72662" y="987187"/>
                  <a:pt x="57510" y="1035170"/>
                </a:cubicBezTo>
                <a:cubicBezTo>
                  <a:pt x="49658" y="1060033"/>
                  <a:pt x="34506" y="1109932"/>
                  <a:pt x="34506" y="1109932"/>
                </a:cubicBezTo>
                <a:cubicBezTo>
                  <a:pt x="30672" y="1138687"/>
                  <a:pt x="25989" y="1167341"/>
                  <a:pt x="23004" y="1196196"/>
                </a:cubicBezTo>
                <a:cubicBezTo>
                  <a:pt x="20235" y="1222959"/>
                  <a:pt x="20696" y="1250024"/>
                  <a:pt x="17253" y="1276709"/>
                </a:cubicBezTo>
                <a:cubicBezTo>
                  <a:pt x="13018" y="1309529"/>
                  <a:pt x="5751" y="1341886"/>
                  <a:pt x="0" y="1374475"/>
                </a:cubicBezTo>
                <a:cubicBezTo>
                  <a:pt x="83961" y="1632815"/>
                  <a:pt x="53988" y="1526608"/>
                  <a:pt x="97767" y="1690777"/>
                </a:cubicBezTo>
                <a:cubicBezTo>
                  <a:pt x="101601" y="1725283"/>
                  <a:pt x="103297" y="1760093"/>
                  <a:pt x="109268" y="1794294"/>
                </a:cubicBezTo>
                <a:cubicBezTo>
                  <a:pt x="124399" y="1880956"/>
                  <a:pt x="149400" y="1965886"/>
                  <a:pt x="161027" y="2053087"/>
                </a:cubicBezTo>
                <a:cubicBezTo>
                  <a:pt x="177697" y="2178107"/>
                  <a:pt x="166840" y="2110905"/>
                  <a:pt x="195533" y="2254370"/>
                </a:cubicBezTo>
                <a:cubicBezTo>
                  <a:pt x="197450" y="2273540"/>
                  <a:pt x="202352" y="2292643"/>
                  <a:pt x="201283" y="2311879"/>
                </a:cubicBezTo>
                <a:cubicBezTo>
                  <a:pt x="197517" y="2379666"/>
                  <a:pt x="192036" y="2464952"/>
                  <a:pt x="161027" y="2530415"/>
                </a:cubicBezTo>
                <a:cubicBezTo>
                  <a:pt x="153968" y="2545318"/>
                  <a:pt x="139988" y="2556098"/>
                  <a:pt x="132272" y="2570672"/>
                </a:cubicBezTo>
                <a:cubicBezTo>
                  <a:pt x="78343" y="2672537"/>
                  <a:pt x="137841" y="2592464"/>
                  <a:pt x="86265" y="2656936"/>
                </a:cubicBezTo>
                <a:cubicBezTo>
                  <a:pt x="65260" y="2782961"/>
                  <a:pt x="76110" y="2704807"/>
                  <a:pt x="86265" y="2978989"/>
                </a:cubicBezTo>
                <a:cubicBezTo>
                  <a:pt x="86558" y="2986887"/>
                  <a:pt x="89517" y="2994494"/>
                  <a:pt x="92016" y="3001992"/>
                </a:cubicBezTo>
                <a:cubicBezTo>
                  <a:pt x="99111" y="3023278"/>
                  <a:pt x="107924" y="3043967"/>
                  <a:pt x="115019" y="3065253"/>
                </a:cubicBezTo>
                <a:cubicBezTo>
                  <a:pt x="123264" y="3089989"/>
                  <a:pt x="130355" y="3115094"/>
                  <a:pt x="138023" y="3140015"/>
                </a:cubicBezTo>
                <a:cubicBezTo>
                  <a:pt x="139940" y="3153434"/>
                  <a:pt x="141116" y="3166980"/>
                  <a:pt x="143774" y="3180272"/>
                </a:cubicBezTo>
                <a:cubicBezTo>
                  <a:pt x="148790" y="3205351"/>
                  <a:pt x="160540" y="3229463"/>
                  <a:pt x="161027" y="3255034"/>
                </a:cubicBezTo>
                <a:cubicBezTo>
                  <a:pt x="170150" y="3733997"/>
                  <a:pt x="192028" y="3618742"/>
                  <a:pt x="143774" y="3835879"/>
                </a:cubicBezTo>
                <a:cubicBezTo>
                  <a:pt x="126039" y="4013227"/>
                  <a:pt x="151988" y="3772634"/>
                  <a:pt x="126521" y="3950898"/>
                </a:cubicBezTo>
                <a:cubicBezTo>
                  <a:pt x="123527" y="3971859"/>
                  <a:pt x="123990" y="3993231"/>
                  <a:pt x="120770" y="4014158"/>
                </a:cubicBezTo>
                <a:cubicBezTo>
                  <a:pt x="116311" y="4043141"/>
                  <a:pt x="103517" y="4100423"/>
                  <a:pt x="103517" y="4100423"/>
                </a:cubicBezTo>
                <a:cubicBezTo>
                  <a:pt x="109268" y="4203940"/>
                  <a:pt x="118014" y="4307334"/>
                  <a:pt x="120770" y="4410974"/>
                </a:cubicBezTo>
                <a:cubicBezTo>
                  <a:pt x="127600" y="4667787"/>
                  <a:pt x="-34919" y="4986544"/>
                  <a:pt x="132272" y="5181600"/>
                </a:cubicBezTo>
                <a:cubicBezTo>
                  <a:pt x="143774" y="5195019"/>
                  <a:pt x="152214" y="5211844"/>
                  <a:pt x="166778" y="5221857"/>
                </a:cubicBezTo>
                <a:cubicBezTo>
                  <a:pt x="182408" y="5232602"/>
                  <a:pt x="307496" y="5272851"/>
                  <a:pt x="310551" y="5273615"/>
                </a:cubicBezTo>
                <a:cubicBezTo>
                  <a:pt x="342655" y="5281641"/>
                  <a:pt x="408317" y="5290868"/>
                  <a:pt x="408317" y="5290868"/>
                </a:cubicBezTo>
                <a:lnTo>
                  <a:pt x="1978325" y="5273615"/>
                </a:lnTo>
                <a:cubicBezTo>
                  <a:pt x="1995466" y="5273188"/>
                  <a:pt x="2009236" y="5258740"/>
                  <a:pt x="2024333" y="5250611"/>
                </a:cubicBezTo>
                <a:cubicBezTo>
                  <a:pt x="2063939" y="5229284"/>
                  <a:pt x="2052615" y="5233908"/>
                  <a:pt x="2087593" y="5193102"/>
                </a:cubicBezTo>
                <a:cubicBezTo>
                  <a:pt x="2093344" y="5172015"/>
                  <a:pt x="2100936" y="5151346"/>
                  <a:pt x="2104846" y="5129841"/>
                </a:cubicBezTo>
                <a:cubicBezTo>
                  <a:pt x="2108634" y="5109009"/>
                  <a:pt x="2107971" y="5087591"/>
                  <a:pt x="2110597" y="5066581"/>
                </a:cubicBezTo>
                <a:cubicBezTo>
                  <a:pt x="2113724" y="5041562"/>
                  <a:pt x="2118265" y="5016740"/>
                  <a:pt x="2122099" y="4991819"/>
                </a:cubicBezTo>
                <a:cubicBezTo>
                  <a:pt x="2083679" y="4883546"/>
                  <a:pt x="2079655" y="4813840"/>
                  <a:pt x="2001329" y="4738777"/>
                </a:cubicBezTo>
                <a:cubicBezTo>
                  <a:pt x="1977517" y="4715957"/>
                  <a:pt x="1920816" y="4681268"/>
                  <a:pt x="1920816" y="4681268"/>
                </a:cubicBezTo>
                <a:cubicBezTo>
                  <a:pt x="1936152" y="4658264"/>
                  <a:pt x="1945931" y="4630364"/>
                  <a:pt x="1966823" y="4612257"/>
                </a:cubicBezTo>
                <a:cubicBezTo>
                  <a:pt x="2130979" y="4469988"/>
                  <a:pt x="2041361" y="4576218"/>
                  <a:pt x="2145102" y="4502989"/>
                </a:cubicBezTo>
                <a:cubicBezTo>
                  <a:pt x="2252409" y="4427243"/>
                  <a:pt x="2132164" y="4492206"/>
                  <a:pt x="2237117" y="4439728"/>
                </a:cubicBezTo>
                <a:cubicBezTo>
                  <a:pt x="2254370" y="4420558"/>
                  <a:pt x="2274374" y="4403546"/>
                  <a:pt x="2288876" y="4382219"/>
                </a:cubicBezTo>
                <a:cubicBezTo>
                  <a:pt x="2339641" y="4307565"/>
                  <a:pt x="2342811" y="4269527"/>
                  <a:pt x="2369389" y="4180936"/>
                </a:cubicBezTo>
                <a:cubicBezTo>
                  <a:pt x="2376966" y="4067277"/>
                  <a:pt x="2387262" y="4025878"/>
                  <a:pt x="2334883" y="3893389"/>
                </a:cubicBezTo>
                <a:cubicBezTo>
                  <a:pt x="2325857" y="3870559"/>
                  <a:pt x="2299539" y="3857936"/>
                  <a:pt x="2277374" y="3847381"/>
                </a:cubicBezTo>
                <a:cubicBezTo>
                  <a:pt x="2258024" y="3838166"/>
                  <a:pt x="2235036" y="3840528"/>
                  <a:pt x="2214114" y="3835879"/>
                </a:cubicBezTo>
                <a:cubicBezTo>
                  <a:pt x="2183251" y="3829021"/>
                  <a:pt x="2152092" y="3822873"/>
                  <a:pt x="2122099" y="3812875"/>
                </a:cubicBezTo>
                <a:cubicBezTo>
                  <a:pt x="2105833" y="3807453"/>
                  <a:pt x="2090794" y="3798693"/>
                  <a:pt x="2076091" y="3789872"/>
                </a:cubicBezTo>
                <a:cubicBezTo>
                  <a:pt x="2026910" y="3760364"/>
                  <a:pt x="2009546" y="3733310"/>
                  <a:pt x="1961072" y="3692106"/>
                </a:cubicBezTo>
                <a:cubicBezTo>
                  <a:pt x="1948507" y="3681426"/>
                  <a:pt x="1934235" y="3672936"/>
                  <a:pt x="1920816" y="3663351"/>
                </a:cubicBezTo>
                <a:cubicBezTo>
                  <a:pt x="1871332" y="3564383"/>
                  <a:pt x="1933038" y="3673776"/>
                  <a:pt x="1840302" y="3565585"/>
                </a:cubicBezTo>
                <a:cubicBezTo>
                  <a:pt x="1833584" y="3557747"/>
                  <a:pt x="1834872" y="3545179"/>
                  <a:pt x="1828800" y="3536830"/>
                </a:cubicBezTo>
                <a:cubicBezTo>
                  <a:pt x="1819233" y="3523675"/>
                  <a:pt x="1805328" y="3514276"/>
                  <a:pt x="1794295" y="3502324"/>
                </a:cubicBezTo>
                <a:cubicBezTo>
                  <a:pt x="1782307" y="3489337"/>
                  <a:pt x="1771291" y="3475487"/>
                  <a:pt x="1759789" y="3462068"/>
                </a:cubicBezTo>
                <a:cubicBezTo>
                  <a:pt x="1776274" y="3368652"/>
                  <a:pt x="1758486" y="3353581"/>
                  <a:pt x="1846053" y="3301041"/>
                </a:cubicBezTo>
                <a:cubicBezTo>
                  <a:pt x="1887279" y="3276305"/>
                  <a:pt x="1934508" y="3263320"/>
                  <a:pt x="1978325" y="3243532"/>
                </a:cubicBezTo>
                <a:cubicBezTo>
                  <a:pt x="1993952" y="3236475"/>
                  <a:pt x="2024333" y="3220528"/>
                  <a:pt x="2024333" y="3220528"/>
                </a:cubicBezTo>
                <a:cubicBezTo>
                  <a:pt x="2030084" y="3209026"/>
                  <a:pt x="2038853" y="3198589"/>
                  <a:pt x="2041585" y="3186023"/>
                </a:cubicBezTo>
                <a:cubicBezTo>
                  <a:pt x="2064478" y="3080711"/>
                  <a:pt x="2043316" y="3062447"/>
                  <a:pt x="2058838" y="2944483"/>
                </a:cubicBezTo>
                <a:cubicBezTo>
                  <a:pt x="2064179" y="2903893"/>
                  <a:pt x="2086943" y="2852367"/>
                  <a:pt x="2110597" y="2817962"/>
                </a:cubicBezTo>
                <a:cubicBezTo>
                  <a:pt x="2120609" y="2803398"/>
                  <a:pt x="2135782" y="2792722"/>
                  <a:pt x="2145102" y="2777706"/>
                </a:cubicBezTo>
                <a:cubicBezTo>
                  <a:pt x="2170436" y="2736890"/>
                  <a:pt x="2191110" y="2693359"/>
                  <a:pt x="2214114" y="2651185"/>
                </a:cubicBezTo>
                <a:cubicBezTo>
                  <a:pt x="2219865" y="2624347"/>
                  <a:pt x="2237392" y="2597449"/>
                  <a:pt x="2231367" y="2570672"/>
                </a:cubicBezTo>
                <a:cubicBezTo>
                  <a:pt x="2219317" y="2517117"/>
                  <a:pt x="2187494" y="2469946"/>
                  <a:pt x="2162355" y="2421147"/>
                </a:cubicBezTo>
                <a:cubicBezTo>
                  <a:pt x="2154803" y="2406487"/>
                  <a:pt x="2148557" y="2387835"/>
                  <a:pt x="2133600" y="2380891"/>
                </a:cubicBezTo>
                <a:cubicBezTo>
                  <a:pt x="2045943" y="2340193"/>
                  <a:pt x="1972891" y="2345031"/>
                  <a:pt x="1880559" y="2340634"/>
                </a:cubicBezTo>
                <a:cubicBezTo>
                  <a:pt x="1808641" y="2333442"/>
                  <a:pt x="1807340" y="2336900"/>
                  <a:pt x="1725283" y="2306128"/>
                </a:cubicBezTo>
                <a:cubicBezTo>
                  <a:pt x="1710812" y="2300701"/>
                  <a:pt x="1697688" y="2291987"/>
                  <a:pt x="1685027" y="2283124"/>
                </a:cubicBezTo>
                <a:cubicBezTo>
                  <a:pt x="1678364" y="2278460"/>
                  <a:pt x="1675048" y="2269509"/>
                  <a:pt x="1667774" y="2265872"/>
                </a:cubicBezTo>
                <a:cubicBezTo>
                  <a:pt x="1655291" y="2259631"/>
                  <a:pt x="1641056" y="2257755"/>
                  <a:pt x="1627517" y="2254370"/>
                </a:cubicBezTo>
                <a:cubicBezTo>
                  <a:pt x="1585421" y="2243846"/>
                  <a:pt x="1579307" y="2243459"/>
                  <a:pt x="1541253" y="2237117"/>
                </a:cubicBezTo>
                <a:cubicBezTo>
                  <a:pt x="1520434" y="2223237"/>
                  <a:pt x="1503873" y="2202611"/>
                  <a:pt x="1506748" y="219686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1737B50D-EB96-4DD6-B24B-2D82DCDB4E93}"/>
              </a:ext>
            </a:extLst>
          </p:cNvPr>
          <p:cNvSpPr txBox="1"/>
          <p:nvPr/>
        </p:nvSpPr>
        <p:spPr>
          <a:xfrm>
            <a:off x="7576759" y="923973"/>
            <a:ext cx="2519044" cy="480131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a:ea typeface="+mn-ea"/>
                <a:cs typeface="+mn-cs"/>
              </a:rPr>
              <a:t>Two thirds of the core network is decentralised and has chain-like characteristi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a:ea typeface="+mn-ea"/>
                <a:cs typeface="+mn-cs"/>
              </a:rPr>
              <a:t>Only one small dense clust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a:ea typeface="+mn-ea"/>
                <a:cs typeface="+mn-cs"/>
              </a:rPr>
              <a:t>A third of the network is disconnected with isolated compon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a:ea typeface="+mn-ea"/>
                <a:cs typeface="+mn-cs"/>
              </a:rPr>
              <a:t>Low to moderate connectivity indicates low/moderate  capacity to facilitate knowledge exchange and learning</a:t>
            </a:r>
          </a:p>
        </p:txBody>
      </p:sp>
    </p:spTree>
    <p:extLst>
      <p:ext uri="{BB962C8B-B14F-4D97-AF65-F5344CB8AC3E}">
        <p14:creationId xmlns:p14="http://schemas.microsoft.com/office/powerpoint/2010/main" val="5230614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4" descr="494 free vector speech bubble | Public domain vectors">
            <a:extLst>
              <a:ext uri="{FF2B5EF4-FFF2-40B4-BE49-F238E27FC236}">
                <a16:creationId xmlns:a16="http://schemas.microsoft.com/office/drawing/2014/main" id="{691A52F2-2B7F-4F0E-AD89-65FE8764390F}"/>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10" name="Picture 9">
            <a:extLst>
              <a:ext uri="{FF2B5EF4-FFF2-40B4-BE49-F238E27FC236}">
                <a16:creationId xmlns:a16="http://schemas.microsoft.com/office/drawing/2014/main" id="{9EA29962-F5F7-44AA-87F7-ED011C3A6EAB}"/>
              </a:ext>
            </a:extLst>
          </p:cNvPr>
          <p:cNvPicPr>
            <a:picLocks noChangeAspect="1"/>
          </p:cNvPicPr>
          <p:nvPr/>
        </p:nvPicPr>
        <p:blipFill>
          <a:blip r:embed="rId2"/>
          <a:stretch>
            <a:fillRect/>
          </a:stretch>
        </p:blipFill>
        <p:spPr>
          <a:xfrm>
            <a:off x="797185" y="495511"/>
            <a:ext cx="10292830" cy="6171778"/>
          </a:xfrm>
          <a:prstGeom prst="rect">
            <a:avLst/>
          </a:prstGeom>
        </p:spPr>
      </p:pic>
      <p:sp>
        <p:nvSpPr>
          <p:cNvPr id="2" name="Title 1">
            <a:extLst>
              <a:ext uri="{FF2B5EF4-FFF2-40B4-BE49-F238E27FC236}">
                <a16:creationId xmlns:a16="http://schemas.microsoft.com/office/drawing/2014/main" id="{86B8EA76-BB61-4F9C-862C-933F493E542A}"/>
              </a:ext>
            </a:extLst>
          </p:cNvPr>
          <p:cNvSpPr>
            <a:spLocks noGrp="1"/>
          </p:cNvSpPr>
          <p:nvPr>
            <p:ph type="title"/>
          </p:nvPr>
        </p:nvSpPr>
        <p:spPr>
          <a:xfrm>
            <a:off x="119063" y="-220839"/>
            <a:ext cx="11544299" cy="1767105"/>
          </a:xfrm>
        </p:spPr>
        <p:txBody>
          <a:bodyPr>
            <a:noAutofit/>
          </a:bodyPr>
          <a:lstStyle/>
          <a:p>
            <a:r>
              <a:rPr lang="en-GB" sz="4000" b="1" dirty="0">
                <a:solidFill>
                  <a:srgbClr val="0070C0"/>
                </a:solidFill>
              </a:rPr>
              <a:t>Building a sense of belonging is one of the most critical tasks in leading change</a:t>
            </a:r>
          </a:p>
        </p:txBody>
      </p:sp>
      <p:sp>
        <p:nvSpPr>
          <p:cNvPr id="11" name="Rectangle 10">
            <a:extLst>
              <a:ext uri="{FF2B5EF4-FFF2-40B4-BE49-F238E27FC236}">
                <a16:creationId xmlns:a16="http://schemas.microsoft.com/office/drawing/2014/main" id="{B38C20C7-52C1-4A1D-9D15-7E16B4A9437C}"/>
              </a:ext>
            </a:extLst>
          </p:cNvPr>
          <p:cNvSpPr/>
          <p:nvPr/>
        </p:nvSpPr>
        <p:spPr>
          <a:xfrm>
            <a:off x="3935760" y="2564904"/>
            <a:ext cx="4950296" cy="12241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A7A6CE34-2AB6-4702-B111-FD6AC610A13A}"/>
              </a:ext>
            </a:extLst>
          </p:cNvPr>
          <p:cNvSpPr txBox="1"/>
          <p:nvPr/>
        </p:nvSpPr>
        <p:spPr>
          <a:xfrm>
            <a:off x="2289920" y="1172241"/>
            <a:ext cx="7344816"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200" b="0" i="1" u="none" strike="noStrike" kern="1200" cap="none" spc="0" normalizeH="0" baseline="0" noProof="0" dirty="0">
                <a:ln>
                  <a:noFill/>
                </a:ln>
                <a:solidFill>
                  <a:srgbClr val="333333"/>
                </a:solidFill>
                <a:effectLst/>
                <a:uLnTx/>
                <a:uFillTx/>
                <a:latin typeface="Calibri"/>
                <a:ea typeface="+mn-ea"/>
                <a:cs typeface="+mn-cs"/>
              </a:rPr>
              <a:t>.</a:t>
            </a:r>
            <a:endParaRPr kumimoji="0" lang="en-GB" sz="2200" b="0" i="1" u="none" strike="noStrike" kern="1200" cap="none" spc="0" normalizeH="0" baseline="0" noProof="0" dirty="0">
              <a:ln>
                <a:noFill/>
              </a:ln>
              <a:solidFill>
                <a:prstClr val="black"/>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F7005081-B964-46DC-871F-55A8D37CB043}"/>
              </a:ext>
            </a:extLst>
          </p:cNvPr>
          <p:cNvSpPr txBox="1"/>
          <p:nvPr/>
        </p:nvSpPr>
        <p:spPr>
          <a:xfrm>
            <a:off x="3663068" y="5634542"/>
            <a:ext cx="6066869"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333333"/>
                </a:solidFill>
                <a:effectLst/>
                <a:uLnTx/>
                <a:uFillTx/>
                <a:latin typeface="Calibri"/>
                <a:ea typeface="+mn-ea"/>
                <a:cs typeface="+mn-cs"/>
              </a:rPr>
              <a:t>Deborah Rowland and Paul Pivcevic</a:t>
            </a:r>
            <a:endParaRPr kumimoji="0" lang="en-GB" sz="2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98C95A9A-C89D-4FB5-B4E4-6610986B8E3E}"/>
              </a:ext>
            </a:extLst>
          </p:cNvPr>
          <p:cNvSpPr txBox="1"/>
          <p:nvPr/>
        </p:nvSpPr>
        <p:spPr>
          <a:xfrm>
            <a:off x="2668590" y="6111810"/>
            <a:ext cx="7632848" cy="61555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1" u="none" strike="noStrike" kern="1200" cap="none" spc="0" normalizeH="0" baseline="0" noProof="0" dirty="0">
                <a:ln>
                  <a:noFill/>
                </a:ln>
                <a:solidFill>
                  <a:prstClr val="black"/>
                </a:solidFill>
                <a:effectLst/>
                <a:uLnTx/>
                <a:uFillTx/>
                <a:latin typeface="Roboto" panose="02000000000000000000" pitchFamily="2" charset="0"/>
                <a:ea typeface="+mn-ea"/>
                <a:cs typeface="+mn-cs"/>
              </a:rPr>
              <a:t>Leading change post pandemic: belong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333333"/>
                </a:solidFill>
                <a:effectLst/>
                <a:uLnTx/>
                <a:uFillTx/>
                <a:latin typeface="Calibri"/>
                <a:ea typeface="+mn-ea"/>
                <a:cs typeface="+mn-cs"/>
                <a:hlinkClick r:id="rId3"/>
              </a:rPr>
              <a:t>https://blogs.lse.ac.uk/businessreview/2022/04/08/leading-change-post-pandemic/</a:t>
            </a:r>
            <a:r>
              <a:rPr kumimoji="0" lang="en-GB" sz="1400" b="0" i="1" u="none" strike="noStrike" kern="1200" cap="none" spc="0" normalizeH="0" baseline="0" noProof="0" dirty="0">
                <a:ln>
                  <a:noFill/>
                </a:ln>
                <a:solidFill>
                  <a:srgbClr val="333333"/>
                </a:solidFill>
                <a:effectLst/>
                <a:uLnTx/>
                <a:uFillTx/>
                <a:latin typeface="Calibri"/>
                <a:ea typeface="+mn-ea"/>
                <a:cs typeface="+mn-cs"/>
              </a:rPr>
              <a:t> </a:t>
            </a:r>
          </a:p>
        </p:txBody>
      </p:sp>
      <p:sp>
        <p:nvSpPr>
          <p:cNvPr id="12" name="TextBox 11">
            <a:extLst>
              <a:ext uri="{FF2B5EF4-FFF2-40B4-BE49-F238E27FC236}">
                <a16:creationId xmlns:a16="http://schemas.microsoft.com/office/drawing/2014/main" id="{8D4ECA67-FA2A-4FB6-8504-C489F1301EF4}"/>
              </a:ext>
            </a:extLst>
          </p:cNvPr>
          <p:cNvSpPr txBox="1"/>
          <p:nvPr/>
        </p:nvSpPr>
        <p:spPr>
          <a:xfrm>
            <a:off x="1323975" y="1603128"/>
            <a:ext cx="9134476" cy="33239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000" b="0" i="1" u="none" strike="noStrike" kern="1200" cap="none" spc="0" normalizeH="0" baseline="0" noProof="0" dirty="0">
                <a:ln>
                  <a:noFill/>
                </a:ln>
                <a:solidFill>
                  <a:srgbClr val="4A4A4A"/>
                </a:solidFill>
                <a:effectLst/>
                <a:uLnTx/>
                <a:uFillTx/>
                <a:latin typeface="Roboto" panose="02000000000000000000" pitchFamily="2" charset="0"/>
                <a:ea typeface="+mn-ea"/>
                <a:cs typeface="+mn-cs"/>
              </a:rPr>
              <a:t>Our most recent research into the successful leadership of large-scale complex change, pinpointed a vital ingredient omnipresent in all human systems: </a:t>
            </a:r>
            <a:r>
              <a:rPr kumimoji="0" lang="en-GB" sz="3000" b="1" i="1" u="none" strike="noStrike" kern="1200" cap="none" spc="0" normalizeH="0" baseline="0" noProof="0" dirty="0">
                <a:ln>
                  <a:noFill/>
                </a:ln>
                <a:solidFill>
                  <a:srgbClr val="1F497D"/>
                </a:solidFill>
                <a:effectLst/>
                <a:uLnTx/>
                <a:uFillTx/>
                <a:latin typeface="Roboto" panose="02000000000000000000" pitchFamily="2" charset="0"/>
                <a:ea typeface="+mn-ea"/>
                <a:cs typeface="+mn-cs"/>
              </a:rPr>
              <a:t>our fundamental need to belong </a:t>
            </a:r>
            <a:r>
              <a:rPr kumimoji="0" lang="en-GB" sz="3000" b="0" i="1" u="none" strike="noStrike" kern="1200" cap="none" spc="0" normalizeH="0" baseline="0" noProof="0" dirty="0">
                <a:ln>
                  <a:noFill/>
                </a:ln>
                <a:solidFill>
                  <a:srgbClr val="4A4A4A"/>
                </a:solidFill>
                <a:effectLst/>
                <a:uLnTx/>
                <a:uFillTx/>
                <a:latin typeface="Roboto" panose="02000000000000000000" pitchFamily="2" charset="0"/>
                <a:ea typeface="+mn-ea"/>
                <a:cs typeface="+mn-cs"/>
              </a:rPr>
              <a:t>– to feel secure, included and part of something significant. If you feel you belong, loyalty follows, and with that the permission for risk-taking and innovation. </a:t>
            </a:r>
            <a:endParaRPr kumimoji="0" lang="en-GB" sz="3000" b="0" i="1"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83734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6686DF6-9504-5E71-17F4-2CF84F28FCCD}"/>
              </a:ext>
            </a:extLst>
          </p:cNvPr>
          <p:cNvPicPr>
            <a:picLocks noChangeAspect="1"/>
          </p:cNvPicPr>
          <p:nvPr/>
        </p:nvPicPr>
        <p:blipFill>
          <a:blip r:embed="rId3"/>
          <a:stretch>
            <a:fillRect/>
          </a:stretch>
        </p:blipFill>
        <p:spPr>
          <a:xfrm>
            <a:off x="416803" y="195234"/>
            <a:ext cx="8672428" cy="3048227"/>
          </a:xfrm>
          <a:prstGeom prst="rect">
            <a:avLst/>
          </a:prstGeom>
        </p:spPr>
      </p:pic>
      <p:sp>
        <p:nvSpPr>
          <p:cNvPr id="9" name="TextBox 8">
            <a:extLst>
              <a:ext uri="{FF2B5EF4-FFF2-40B4-BE49-F238E27FC236}">
                <a16:creationId xmlns:a16="http://schemas.microsoft.com/office/drawing/2014/main" id="{62F8AB0E-FDB5-B56E-AA5A-9F8E822A962D}"/>
              </a:ext>
            </a:extLst>
          </p:cNvPr>
          <p:cNvSpPr txBox="1"/>
          <p:nvPr/>
        </p:nvSpPr>
        <p:spPr>
          <a:xfrm>
            <a:off x="9509069" y="1180627"/>
            <a:ext cx="2535534"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Hardcastle, A.C. et al. </a:t>
            </a:r>
            <a:r>
              <a:rPr kumimoji="0" lang="en-GB" sz="1800" b="0" i="1" u="none" strike="noStrike" kern="1200" cap="none" spc="0" normalizeH="0" baseline="0" noProof="0" dirty="0">
                <a:ln>
                  <a:noFill/>
                </a:ln>
                <a:solidFill>
                  <a:srgbClr val="000000"/>
                </a:solidFill>
                <a:effectLst/>
                <a:uLnTx/>
                <a:uFillTx/>
                <a:latin typeface="Arial"/>
                <a:ea typeface="+mn-ea"/>
                <a:cs typeface="+mn-cs"/>
              </a:rPr>
              <a:t>The dynamics of quality: a national panel study of evidence-based standards </a:t>
            </a:r>
            <a:r>
              <a:rPr kumimoji="0" lang="en-GB" sz="1800" b="0" i="0" u="none" strike="noStrike" kern="1200" cap="none" spc="0" normalizeH="0" baseline="0" noProof="0" dirty="0">
                <a:ln>
                  <a:noFill/>
                </a:ln>
                <a:solidFill>
                  <a:srgbClr val="000000"/>
                </a:solidFill>
                <a:effectLst/>
                <a:uLnTx/>
                <a:uFillTx/>
                <a:latin typeface="Arial"/>
                <a:ea typeface="+mn-ea"/>
                <a:cs typeface="+mn-cs"/>
              </a:rPr>
              <a:t>2015</a:t>
            </a:r>
          </a:p>
        </p:txBody>
      </p:sp>
      <p:sp>
        <p:nvSpPr>
          <p:cNvPr id="10" name="TextBox 9">
            <a:extLst>
              <a:ext uri="{FF2B5EF4-FFF2-40B4-BE49-F238E27FC236}">
                <a16:creationId xmlns:a16="http://schemas.microsoft.com/office/drawing/2014/main" id="{8B2C8FD9-3498-47C0-967C-89623B6C4B6C}"/>
              </a:ext>
            </a:extLst>
          </p:cNvPr>
          <p:cNvSpPr txBox="1"/>
          <p:nvPr/>
        </p:nvSpPr>
        <p:spPr>
          <a:xfrm>
            <a:off x="831082" y="6398142"/>
            <a:ext cx="6115050" cy="344069"/>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raithwaite and Glasziou May 2020</a:t>
            </a:r>
          </a:p>
        </p:txBody>
      </p:sp>
      <p:sp>
        <p:nvSpPr>
          <p:cNvPr id="13" name="TextBox 12">
            <a:extLst>
              <a:ext uri="{FF2B5EF4-FFF2-40B4-BE49-F238E27FC236}">
                <a16:creationId xmlns:a16="http://schemas.microsoft.com/office/drawing/2014/main" id="{4923698D-B1E3-4894-9451-7EF8A6AE593B}"/>
              </a:ext>
            </a:extLst>
          </p:cNvPr>
          <p:cNvSpPr txBox="1"/>
          <p:nvPr/>
        </p:nvSpPr>
        <p:spPr>
          <a:xfrm>
            <a:off x="6826138" y="6245424"/>
            <a:ext cx="536586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Calibri" panose="020F0502020204030204"/>
                <a:ea typeface="+mn-ea"/>
                <a:cs typeface="+mn-cs"/>
              </a:rPr>
              <a:t>D’Avena A, Agrawal S, Kizer KW, et al.: Normalising High-Value Care: Findings of the National Quality Task Force. 2020</a:t>
            </a:r>
          </a:p>
        </p:txBody>
      </p:sp>
      <p:sp>
        <p:nvSpPr>
          <p:cNvPr id="6" name="Rectangle 5">
            <a:extLst>
              <a:ext uri="{FF2B5EF4-FFF2-40B4-BE49-F238E27FC236}">
                <a16:creationId xmlns:a16="http://schemas.microsoft.com/office/drawing/2014/main" id="{8EF2D18A-F60B-47EE-B599-F0AED966D55B}"/>
              </a:ext>
            </a:extLst>
          </p:cNvPr>
          <p:cNvSpPr/>
          <p:nvPr/>
        </p:nvSpPr>
        <p:spPr>
          <a:xfrm>
            <a:off x="2132989" y="74882"/>
            <a:ext cx="4675315" cy="7724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BF4C2695-88F6-4FA3-AEAD-AA6C06DF544B}"/>
              </a:ext>
            </a:extLst>
          </p:cNvPr>
          <p:cNvSpPr txBox="1"/>
          <p:nvPr/>
        </p:nvSpPr>
        <p:spPr>
          <a:xfrm>
            <a:off x="1980023" y="666550"/>
            <a:ext cx="592367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rPr>
              <a:t>% of quality indicators for healthcare received by participants</a:t>
            </a:r>
          </a:p>
        </p:txBody>
      </p:sp>
      <p:sp>
        <p:nvSpPr>
          <p:cNvPr id="3" name="Title 2">
            <a:extLst>
              <a:ext uri="{FF2B5EF4-FFF2-40B4-BE49-F238E27FC236}">
                <a16:creationId xmlns:a16="http://schemas.microsoft.com/office/drawing/2014/main" id="{0C927C63-392C-F400-0607-B354AF4A3D93}"/>
              </a:ext>
            </a:extLst>
          </p:cNvPr>
          <p:cNvSpPr>
            <a:spLocks noGrp="1"/>
          </p:cNvSpPr>
          <p:nvPr>
            <p:ph type="title"/>
          </p:nvPr>
        </p:nvSpPr>
        <p:spPr>
          <a:xfrm>
            <a:off x="109537" y="91534"/>
            <a:ext cx="8756073" cy="611649"/>
          </a:xfrm>
        </p:spPr>
        <p:txBody>
          <a:bodyPr/>
          <a:lstStyle/>
          <a:p>
            <a:r>
              <a:rPr lang="en-GB" sz="4000" b="1" dirty="0"/>
              <a:t>The challenge in numbers</a:t>
            </a:r>
          </a:p>
        </p:txBody>
      </p:sp>
      <p:sp>
        <p:nvSpPr>
          <p:cNvPr id="17" name="Rectangle 16">
            <a:extLst>
              <a:ext uri="{FF2B5EF4-FFF2-40B4-BE49-F238E27FC236}">
                <a16:creationId xmlns:a16="http://schemas.microsoft.com/office/drawing/2014/main" id="{790E0094-325A-4F36-98C1-132A56957A3D}"/>
              </a:ext>
            </a:extLst>
          </p:cNvPr>
          <p:cNvSpPr/>
          <p:nvPr/>
        </p:nvSpPr>
        <p:spPr>
          <a:xfrm>
            <a:off x="109537" y="982948"/>
            <a:ext cx="1570176" cy="19446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EAB85446-D973-42E1-A753-F0711515EE43}"/>
              </a:ext>
            </a:extLst>
          </p:cNvPr>
          <p:cNvSpPr txBox="1"/>
          <p:nvPr/>
        </p:nvSpPr>
        <p:spPr>
          <a:xfrm flipH="1">
            <a:off x="92066" y="1047185"/>
            <a:ext cx="1897516" cy="492571"/>
          </a:xfrm>
          <a:prstGeom prst="rect">
            <a:avLst/>
          </a:prstGeom>
          <a:noFill/>
        </p:spPr>
        <p:txBody>
          <a:bodyPr wrap="square" rtlCol="0">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rPr>
              <a:t>Cardiovascular disease</a:t>
            </a:r>
          </a:p>
        </p:txBody>
      </p:sp>
      <p:sp>
        <p:nvSpPr>
          <p:cNvPr id="14" name="TextBox 13">
            <a:extLst>
              <a:ext uri="{FF2B5EF4-FFF2-40B4-BE49-F238E27FC236}">
                <a16:creationId xmlns:a16="http://schemas.microsoft.com/office/drawing/2014/main" id="{EB14BA96-A8C0-4F02-B79C-88AA0531632E}"/>
              </a:ext>
            </a:extLst>
          </p:cNvPr>
          <p:cNvSpPr txBox="1"/>
          <p:nvPr/>
        </p:nvSpPr>
        <p:spPr>
          <a:xfrm>
            <a:off x="109536" y="1527775"/>
            <a:ext cx="100649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rPr>
              <a:t>Diabetes</a:t>
            </a:r>
          </a:p>
        </p:txBody>
      </p:sp>
      <p:sp>
        <p:nvSpPr>
          <p:cNvPr id="15" name="TextBox 14">
            <a:extLst>
              <a:ext uri="{FF2B5EF4-FFF2-40B4-BE49-F238E27FC236}">
                <a16:creationId xmlns:a16="http://schemas.microsoft.com/office/drawing/2014/main" id="{57728A71-FBC8-44B8-B050-92F48C7C870E}"/>
              </a:ext>
            </a:extLst>
          </p:cNvPr>
          <p:cNvSpPr txBox="1"/>
          <p:nvPr/>
        </p:nvSpPr>
        <p:spPr>
          <a:xfrm>
            <a:off x="109536" y="1962860"/>
            <a:ext cx="123322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rPr>
              <a:t>Depression</a:t>
            </a:r>
          </a:p>
        </p:txBody>
      </p:sp>
      <p:sp>
        <p:nvSpPr>
          <p:cNvPr id="16" name="TextBox 15">
            <a:extLst>
              <a:ext uri="{FF2B5EF4-FFF2-40B4-BE49-F238E27FC236}">
                <a16:creationId xmlns:a16="http://schemas.microsoft.com/office/drawing/2014/main" id="{D8E7E7DD-7CA2-445F-8682-C8288CBF7843}"/>
              </a:ext>
            </a:extLst>
          </p:cNvPr>
          <p:cNvSpPr txBox="1"/>
          <p:nvPr/>
        </p:nvSpPr>
        <p:spPr>
          <a:xfrm>
            <a:off x="92066" y="2486114"/>
            <a:ext cx="147803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rPr>
              <a:t>Osteoarthritis</a:t>
            </a:r>
          </a:p>
        </p:txBody>
      </p:sp>
      <p:sp>
        <p:nvSpPr>
          <p:cNvPr id="18" name="Rectangle 17">
            <a:extLst>
              <a:ext uri="{FF2B5EF4-FFF2-40B4-BE49-F238E27FC236}">
                <a16:creationId xmlns:a16="http://schemas.microsoft.com/office/drawing/2014/main" id="{AFCA4D0D-1CF2-496B-A17C-130C906D7B05}"/>
              </a:ext>
            </a:extLst>
          </p:cNvPr>
          <p:cNvSpPr/>
          <p:nvPr/>
        </p:nvSpPr>
        <p:spPr>
          <a:xfrm>
            <a:off x="1554581" y="2827865"/>
            <a:ext cx="8021162"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Calibri" panose="020F0502020204030204"/>
                <a:ea typeface="+mn-ea"/>
                <a:cs typeface="+mn-cs"/>
              </a:rPr>
              <a:t>0              10            20              30             40</a:t>
            </a:r>
            <a:r>
              <a:rPr kumimoji="0" lang="en-GB" sz="1600" b="0" i="0" u="none" strike="noStrike" kern="1200" cap="none" spc="0" normalizeH="0" baseline="0" noProof="0" dirty="0">
                <a:ln>
                  <a:noFill/>
                </a:ln>
                <a:solidFill>
                  <a:srgbClr val="FFFFFF"/>
                </a:solidFill>
                <a:effectLst/>
                <a:uLnTx/>
                <a:uFillTx/>
                <a:latin typeface="Calibri" panose="020F0502020204030204"/>
                <a:ea typeface="+mn-ea"/>
                <a:cs typeface="+mn-cs"/>
              </a:rPr>
              <a:t>0          </a:t>
            </a:r>
            <a:r>
              <a:rPr kumimoji="0" lang="en-GB" sz="1600" b="0" i="0" u="none" strike="noStrike" kern="1200" cap="none" spc="0" normalizeH="0" baseline="0" noProof="0" dirty="0">
                <a:ln>
                  <a:noFill/>
                </a:ln>
                <a:solidFill>
                  <a:srgbClr val="000000"/>
                </a:solidFill>
                <a:effectLst/>
                <a:uLnTx/>
                <a:uFillTx/>
                <a:latin typeface="Calibri" panose="020F0502020204030204"/>
                <a:ea typeface="+mn-ea"/>
                <a:cs typeface="+mn-cs"/>
              </a:rPr>
              <a:t>50             60            70              80             90</a:t>
            </a:r>
          </a:p>
        </p:txBody>
      </p:sp>
      <p:pic>
        <p:nvPicPr>
          <p:cNvPr id="20" name="Picture 19">
            <a:extLst>
              <a:ext uri="{FF2B5EF4-FFF2-40B4-BE49-F238E27FC236}">
                <a16:creationId xmlns:a16="http://schemas.microsoft.com/office/drawing/2014/main" id="{B6117CEF-B647-4BEC-A44A-67B2E3486007}"/>
              </a:ext>
            </a:extLst>
          </p:cNvPr>
          <p:cNvPicPr>
            <a:picLocks noChangeAspect="1"/>
          </p:cNvPicPr>
          <p:nvPr/>
        </p:nvPicPr>
        <p:blipFill>
          <a:blip r:embed="rId4"/>
          <a:stretch>
            <a:fillRect/>
          </a:stretch>
        </p:blipFill>
        <p:spPr>
          <a:xfrm>
            <a:off x="73705" y="3308424"/>
            <a:ext cx="6095999" cy="3111610"/>
          </a:xfrm>
          <a:prstGeom prst="rect">
            <a:avLst/>
          </a:prstGeom>
        </p:spPr>
      </p:pic>
      <p:sp>
        <p:nvSpPr>
          <p:cNvPr id="11" name="TextBox 10">
            <a:extLst>
              <a:ext uri="{FF2B5EF4-FFF2-40B4-BE49-F238E27FC236}">
                <a16:creationId xmlns:a16="http://schemas.microsoft.com/office/drawing/2014/main" id="{C87DB2B3-12C2-13B8-7ACD-B1C1681C8516}"/>
              </a:ext>
            </a:extLst>
          </p:cNvPr>
          <p:cNvSpPr txBox="1"/>
          <p:nvPr/>
        </p:nvSpPr>
        <p:spPr>
          <a:xfrm>
            <a:off x="243270" y="3429000"/>
            <a:ext cx="5243129" cy="2268442"/>
          </a:xfrm>
          <a:prstGeom prst="rect">
            <a:avLst/>
          </a:prstGeom>
          <a:noFill/>
        </p:spPr>
        <p:txBody>
          <a:bodyPr wrap="square">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GB" sz="19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Healthcare represents a paradox.                        While change is everywhere, performance has flatlined: </a:t>
            </a:r>
            <a:r>
              <a:rPr kumimoji="0" lang="en-GB" sz="1900" b="1"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60% </a:t>
            </a:r>
            <a:r>
              <a:rPr kumimoji="0" lang="en-GB" sz="19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f care on average is in line with evidence- or consensus-based guidelines, </a:t>
            </a:r>
            <a:r>
              <a:rPr kumimoji="0" lang="en-GB" sz="1900" b="1"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30% </a:t>
            </a:r>
            <a:r>
              <a:rPr kumimoji="0" lang="en-GB" sz="19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s some form of waste or of low value, and </a:t>
            </a:r>
            <a:r>
              <a:rPr kumimoji="0" lang="en-GB" sz="1900" b="1"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10% </a:t>
            </a:r>
            <a:r>
              <a:rPr kumimoji="0" lang="en-GB" sz="19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s harm. The 60-30-10 challenge has persisted for three decades.</a:t>
            </a:r>
            <a:endParaRPr kumimoji="0" lang="en-GB" sz="19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24" name="Picture 23">
            <a:extLst>
              <a:ext uri="{FF2B5EF4-FFF2-40B4-BE49-F238E27FC236}">
                <a16:creationId xmlns:a16="http://schemas.microsoft.com/office/drawing/2014/main" id="{AFA2D25D-8265-487E-A592-339E4DD2D379}"/>
              </a:ext>
            </a:extLst>
          </p:cNvPr>
          <p:cNvPicPr>
            <a:picLocks noChangeAspect="1"/>
          </p:cNvPicPr>
          <p:nvPr/>
        </p:nvPicPr>
        <p:blipFill>
          <a:blip r:embed="rId5"/>
          <a:stretch>
            <a:fillRect/>
          </a:stretch>
        </p:blipFill>
        <p:spPr>
          <a:xfrm rot="10800000" flipV="1">
            <a:off x="5804316" y="3197197"/>
            <a:ext cx="6240287" cy="3048226"/>
          </a:xfrm>
          <a:prstGeom prst="rect">
            <a:avLst/>
          </a:prstGeom>
        </p:spPr>
      </p:pic>
      <p:sp>
        <p:nvSpPr>
          <p:cNvPr id="8" name="TextBox 7">
            <a:extLst>
              <a:ext uri="{FF2B5EF4-FFF2-40B4-BE49-F238E27FC236}">
                <a16:creationId xmlns:a16="http://schemas.microsoft.com/office/drawing/2014/main" id="{A928BED3-1179-4C59-8052-E3116A3F193C}"/>
              </a:ext>
            </a:extLst>
          </p:cNvPr>
          <p:cNvSpPr txBox="1"/>
          <p:nvPr/>
        </p:nvSpPr>
        <p:spPr>
          <a:xfrm>
            <a:off x="6339269" y="3493726"/>
            <a:ext cx="5465903" cy="1934376"/>
          </a:xfrm>
          <a:prstGeom prst="rect">
            <a:avLst/>
          </a:prstGeom>
          <a:noFill/>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900" b="0" i="1" u="none" strike="noStrike" kern="1200" cap="none" spc="0" normalizeH="0" baseline="0" noProof="0" dirty="0">
                <a:ln>
                  <a:noFill/>
                </a:ln>
                <a:solidFill>
                  <a:srgbClr val="000000"/>
                </a:solidFill>
                <a:effectLst/>
                <a:uLnTx/>
                <a:uFillTx/>
                <a:latin typeface="Calibri" panose="020F0502020204030204"/>
                <a:ea typeface="+mn-ea"/>
                <a:cs typeface="+mn-cs"/>
              </a:rPr>
              <a:t>Despite impressive gains, notable shortcomings</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900" b="0" i="1" u="none" strike="noStrike" kern="1200" cap="none" spc="0" normalizeH="0" baseline="0" noProof="0" dirty="0">
                <a:ln>
                  <a:noFill/>
                </a:ln>
                <a:solidFill>
                  <a:srgbClr val="000000"/>
                </a:solidFill>
                <a:effectLst/>
                <a:uLnTx/>
                <a:uFillTx/>
                <a:latin typeface="Calibri" panose="020F0502020204030204"/>
                <a:ea typeface="+mn-ea"/>
                <a:cs typeface="+mn-cs"/>
              </a:rPr>
              <a:t>persist in normalising consistent, high-value,      person-centered care. What is primarily missing is not progress in measurement, but progress in results. Changes in culture, investment, leadership, and even the distribution of power are even more important than measurement alone”</a:t>
            </a:r>
            <a:endParaRPr kumimoji="0" lang="en-GB" sz="19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59005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35B6C1F-FD39-41AD-B0AA-256ADAF2DEE0}"/>
              </a:ext>
            </a:extLst>
          </p:cNvPr>
          <p:cNvSpPr txBox="1"/>
          <p:nvPr/>
        </p:nvSpPr>
        <p:spPr>
          <a:xfrm flipH="1">
            <a:off x="1718116" y="1365794"/>
            <a:ext cx="5694317" cy="4770537"/>
          </a:xfrm>
          <a:prstGeom prst="rect">
            <a:avLst/>
          </a:prstGeom>
          <a:noFill/>
        </p:spPr>
        <p:txBody>
          <a:bodyPr wrap="square" rtlCol="0">
            <a:spAutoFit/>
          </a:bodyPr>
          <a:lstStyle/>
          <a:p>
            <a:pPr marL="0" marR="0" lvl="0" indent="0" algn="l" defTabSz="457058"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rPr>
              <a:t>How are you creating a sense of </a:t>
            </a:r>
            <a:r>
              <a:rPr kumimoji="0" lang="en-GB" sz="2800" b="1" i="0" u="none" strike="noStrike" kern="1200" cap="none" spc="0" normalizeH="0" baseline="0" noProof="0" dirty="0">
                <a:ln>
                  <a:noFill/>
                </a:ln>
                <a:solidFill>
                  <a:srgbClr val="4472C4"/>
                </a:solidFill>
                <a:effectLst/>
                <a:uLnTx/>
                <a:uFillTx/>
                <a:latin typeface="Calibri" panose="020F0502020204030204"/>
                <a:ea typeface="+mn-ea"/>
                <a:cs typeface="+mn-cs"/>
              </a:rPr>
              <a:t>belonging</a:t>
            </a:r>
            <a:r>
              <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rPr>
              <a:t> so that everyone is seen and valued for our own </a:t>
            </a:r>
            <a:r>
              <a:rPr kumimoji="0" lang="en-GB" sz="2800" b="1" i="0" u="none" strike="noStrike" kern="1200" cap="none" spc="0" normalizeH="0" baseline="0" noProof="0" dirty="0">
                <a:ln>
                  <a:noFill/>
                </a:ln>
                <a:solidFill>
                  <a:srgbClr val="4472C4"/>
                </a:solidFill>
                <a:effectLst/>
                <a:uLnTx/>
                <a:uFillTx/>
                <a:latin typeface="Calibri" panose="020F0502020204030204"/>
                <a:ea typeface="+mn-ea"/>
                <a:cs typeface="+mn-cs"/>
              </a:rPr>
              <a:t>unique and authentic selves</a:t>
            </a:r>
            <a:r>
              <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457058"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058"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rPr>
              <a:t>Belonging counts more than diversity (the facts) or inclusion (a choice)</a:t>
            </a:r>
          </a:p>
          <a:p>
            <a:pPr marL="0" marR="0" lvl="0" indent="0" algn="l" defTabSz="457058"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058"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292929"/>
                </a:solidFill>
                <a:effectLst/>
                <a:uLnTx/>
                <a:uFillTx/>
                <a:latin typeface="Calibri" panose="020F0502020204030204"/>
                <a:ea typeface="+mn-ea"/>
                <a:cs typeface="+mn-cs"/>
              </a:rPr>
              <a:t>When we </a:t>
            </a:r>
            <a:r>
              <a:rPr kumimoji="0" lang="en-GB" sz="2800" b="1" i="0" u="none" strike="noStrike" kern="1200" cap="none" spc="0" normalizeH="0" baseline="0" noProof="0" dirty="0">
                <a:ln>
                  <a:noFill/>
                </a:ln>
                <a:solidFill>
                  <a:srgbClr val="4F81BD"/>
                </a:solidFill>
                <a:effectLst/>
                <a:uLnTx/>
                <a:uFillTx/>
                <a:latin typeface="Calibri" panose="020F0502020204030204"/>
                <a:ea typeface="+mn-ea"/>
                <a:cs typeface="+mn-cs"/>
              </a:rPr>
              <a:t>feel</a:t>
            </a:r>
            <a:r>
              <a:rPr kumimoji="0" lang="en-GB" sz="2800" b="0" i="0" u="none" strike="noStrike" kern="1200" cap="none" spc="0" normalizeH="0" baseline="0" noProof="0" dirty="0">
                <a:ln>
                  <a:noFill/>
                </a:ln>
                <a:solidFill>
                  <a:srgbClr val="292929"/>
                </a:solidFill>
                <a:effectLst/>
                <a:uLnTx/>
                <a:uFillTx/>
                <a:latin typeface="Calibri" panose="020F0502020204030204"/>
                <a:ea typeface="+mn-ea"/>
                <a:cs typeface="+mn-cs"/>
              </a:rPr>
              <a:t> we </a:t>
            </a:r>
            <a:r>
              <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rPr>
              <a:t>belong</a:t>
            </a:r>
            <a:r>
              <a:rPr kumimoji="0" lang="en-GB" sz="2800" b="0" i="0" u="none" strike="noStrike" kern="1200" cap="none" spc="0" normalizeH="0" baseline="0" noProof="0" dirty="0">
                <a:ln>
                  <a:noFill/>
                </a:ln>
                <a:solidFill>
                  <a:srgbClr val="292929"/>
                </a:solidFill>
                <a:effectLst/>
                <a:uLnTx/>
                <a:uFillTx/>
                <a:latin typeface="Calibri" panose="020F0502020204030204"/>
                <a:ea typeface="+mn-ea"/>
                <a:cs typeface="+mn-cs"/>
              </a:rPr>
              <a:t>, we thrive, and so do the people around us.</a:t>
            </a:r>
            <a:endPar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058"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9204C974-0E38-49F0-A61C-1E49DAD9C3EE}"/>
              </a:ext>
            </a:extLst>
          </p:cNvPr>
          <p:cNvSpPr txBox="1"/>
          <p:nvPr/>
        </p:nvSpPr>
        <p:spPr>
          <a:xfrm>
            <a:off x="1696402" y="5878151"/>
            <a:ext cx="6872381" cy="523220"/>
          </a:xfrm>
          <a:prstGeom prst="rect">
            <a:avLst/>
          </a:prstGeom>
          <a:noFill/>
        </p:spPr>
        <p:txBody>
          <a:bodyPr wrap="square">
            <a:spAutoFit/>
          </a:bodyPr>
          <a:lstStyle/>
          <a:p>
            <a:pPr marL="0" marR="0" lvl="0" indent="0" algn="l" defTabSz="457058"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Anita Sands </a:t>
            </a: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https://anitasands.medium.com/diversity-and-inclusion-arent-what-matter-belonging-is-what-counts-4a75bf6565b5</a:t>
            </a: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pic>
        <p:nvPicPr>
          <p:cNvPr id="7" name="Picture 2" descr="Image result for belonging">
            <a:extLst>
              <a:ext uri="{FF2B5EF4-FFF2-40B4-BE49-F238E27FC236}">
                <a16:creationId xmlns:a16="http://schemas.microsoft.com/office/drawing/2014/main" id="{9BBD43DD-90DB-470B-861A-DB18B89294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1379" y="1884496"/>
            <a:ext cx="4255920" cy="3291354"/>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1BD33EEF-5803-46FE-BC8A-040C0F6ABF27}"/>
              </a:ext>
            </a:extLst>
          </p:cNvPr>
          <p:cNvSpPr txBox="1"/>
          <p:nvPr/>
        </p:nvSpPr>
        <p:spPr>
          <a:xfrm>
            <a:off x="1684367" y="127876"/>
            <a:ext cx="10045947" cy="1077218"/>
          </a:xfrm>
          <a:prstGeom prst="rect">
            <a:avLst/>
          </a:prstGeom>
          <a:noFill/>
        </p:spPr>
        <p:txBody>
          <a:bodyPr wrap="square" rtlCol="0">
            <a:spAutoFit/>
          </a:bodyPr>
          <a:lstStyle/>
          <a:p>
            <a:pPr marL="0" marR="0" lvl="0" indent="0" algn="l" defTabSz="457058"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4472C4"/>
                </a:solidFill>
                <a:effectLst/>
                <a:uLnTx/>
                <a:uFillTx/>
                <a:latin typeface="Calibri" panose="020F0502020204030204"/>
                <a:ea typeface="+mn-ea"/>
                <a:cs typeface="+mn-cs"/>
              </a:rPr>
              <a:t>Building belonging:</a:t>
            </a:r>
          </a:p>
          <a:p>
            <a:pPr marL="0" marR="0" lvl="0" indent="0" algn="l" defTabSz="457058"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4472C4"/>
                </a:solidFill>
                <a:effectLst/>
                <a:uLnTx/>
                <a:uFillTx/>
                <a:latin typeface="Calibri" panose="020F0502020204030204"/>
                <a:ea typeface="+mn-ea"/>
                <a:cs typeface="+mn-cs"/>
              </a:rPr>
              <a:t>a critical task for leaders of improvement</a:t>
            </a:r>
          </a:p>
        </p:txBody>
      </p:sp>
    </p:spTree>
    <p:extLst>
      <p:ext uri="{BB962C8B-B14F-4D97-AF65-F5344CB8AC3E}">
        <p14:creationId xmlns:p14="http://schemas.microsoft.com/office/powerpoint/2010/main" val="17171947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13A8E-F8B1-4A64-8998-CF1FA3866A2E}"/>
              </a:ext>
            </a:extLst>
          </p:cNvPr>
          <p:cNvSpPr>
            <a:spLocks noGrp="1"/>
          </p:cNvSpPr>
          <p:nvPr>
            <p:ph type="title"/>
          </p:nvPr>
        </p:nvSpPr>
        <p:spPr>
          <a:xfrm>
            <a:off x="1775520" y="0"/>
            <a:ext cx="8229600" cy="1143000"/>
          </a:xfrm>
        </p:spPr>
        <p:txBody>
          <a:bodyPr/>
          <a:lstStyle/>
          <a:p>
            <a:r>
              <a:rPr lang="en-GB" dirty="0"/>
              <a:t>Belonging</a:t>
            </a:r>
          </a:p>
        </p:txBody>
      </p:sp>
      <p:pic>
        <p:nvPicPr>
          <p:cNvPr id="2050" name="Picture 2" descr="Belonging at work">
            <a:extLst>
              <a:ext uri="{FF2B5EF4-FFF2-40B4-BE49-F238E27FC236}">
                <a16:creationId xmlns:a16="http://schemas.microsoft.com/office/drawing/2014/main" id="{E4611078-7771-4633-8362-5549293387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95800" y="3068960"/>
            <a:ext cx="3854202" cy="3854202"/>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9CF7A39C-336A-4954-89A9-DCB297F6B0AC}"/>
              </a:ext>
            </a:extLst>
          </p:cNvPr>
          <p:cNvSpPr>
            <a:spLocks noGrp="1"/>
          </p:cNvSpPr>
          <p:nvPr>
            <p:ph idx="1"/>
          </p:nvPr>
        </p:nvSpPr>
        <p:spPr>
          <a:xfrm>
            <a:off x="1703512" y="1118284"/>
            <a:ext cx="8507288" cy="4525963"/>
          </a:xfrm>
        </p:spPr>
        <p:txBody>
          <a:bodyPr/>
          <a:lstStyle/>
          <a:p>
            <a:pPr marL="0" indent="0" algn="ctr">
              <a:buNone/>
            </a:pPr>
            <a:r>
              <a:rPr lang="en-GB" dirty="0">
                <a:solidFill>
                  <a:srgbClr val="333333"/>
                </a:solidFill>
                <a:latin typeface="interfaceregular"/>
              </a:rPr>
              <a:t>A</a:t>
            </a:r>
            <a:r>
              <a:rPr lang="en-GB" b="0" i="0" dirty="0">
                <a:solidFill>
                  <a:srgbClr val="333333"/>
                </a:solidFill>
                <a:effectLst/>
                <a:latin typeface="interfaceregular"/>
              </a:rPr>
              <a:t> </a:t>
            </a:r>
            <a:r>
              <a:rPr lang="en-GB" b="1" i="0" u="none" strike="noStrike" dirty="0">
                <a:solidFill>
                  <a:srgbClr val="2A6EBB"/>
                </a:solidFill>
                <a:effectLst/>
                <a:latin typeface="interfaceregular"/>
              </a:rPr>
              <a:t>feeling</a:t>
            </a:r>
            <a:r>
              <a:rPr lang="en-GB" u="none" strike="noStrike" dirty="0">
                <a:solidFill>
                  <a:srgbClr val="333333"/>
                </a:solidFill>
                <a:latin typeface="interfaceregular"/>
              </a:rPr>
              <a:t> </a:t>
            </a:r>
            <a:r>
              <a:rPr lang="en-GB" b="0" i="0" dirty="0">
                <a:solidFill>
                  <a:srgbClr val="333333"/>
                </a:solidFill>
                <a:effectLst/>
                <a:latin typeface="interfaceregular"/>
              </a:rPr>
              <a:t>of being accepted, included, respected, listened to and fully involved by those around you: in the team, organisation, improvement initiative, family, network or community</a:t>
            </a:r>
            <a:endParaRPr lang="en-GB" dirty="0"/>
          </a:p>
        </p:txBody>
      </p:sp>
    </p:spTree>
    <p:extLst>
      <p:ext uri="{BB962C8B-B14F-4D97-AF65-F5344CB8AC3E}">
        <p14:creationId xmlns:p14="http://schemas.microsoft.com/office/powerpoint/2010/main" val="42568920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D66200C-FCA7-462F-8E25-9E6237A823D5}"/>
              </a:ext>
            </a:extLst>
          </p:cNvPr>
          <p:cNvPicPr/>
          <p:nvPr/>
        </p:nvPicPr>
        <p:blipFill>
          <a:blip r:embed="rId2"/>
          <a:stretch>
            <a:fillRect/>
          </a:stretch>
        </p:blipFill>
        <p:spPr>
          <a:xfrm>
            <a:off x="2171564" y="1186047"/>
            <a:ext cx="7848872" cy="4608512"/>
          </a:xfrm>
          <a:prstGeom prst="rect">
            <a:avLst/>
          </a:prstGeom>
        </p:spPr>
      </p:pic>
      <p:sp>
        <p:nvSpPr>
          <p:cNvPr id="5" name="TextBox 4">
            <a:extLst>
              <a:ext uri="{FF2B5EF4-FFF2-40B4-BE49-F238E27FC236}">
                <a16:creationId xmlns:a16="http://schemas.microsoft.com/office/drawing/2014/main" id="{2989845B-9C47-43DC-8F37-DD8B585D029B}"/>
              </a:ext>
            </a:extLst>
          </p:cNvPr>
          <p:cNvSpPr txBox="1"/>
          <p:nvPr/>
        </p:nvSpPr>
        <p:spPr>
          <a:xfrm flipH="1">
            <a:off x="1924472" y="182969"/>
            <a:ext cx="8640960" cy="646331"/>
          </a:xfrm>
          <a:prstGeom prst="rect">
            <a:avLst/>
          </a:prstGeom>
          <a:noFill/>
        </p:spPr>
        <p:txBody>
          <a:bodyPr wrap="square" rtlCol="0">
            <a:spAutoFit/>
          </a:bodyPr>
          <a:lstStyle/>
          <a:p>
            <a:pPr marL="0" marR="0" lvl="0" indent="0" algn="l" defTabSz="457058"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srgbClr val="4472C4"/>
                </a:solidFill>
                <a:effectLst/>
                <a:uLnTx/>
                <a:uFillTx/>
                <a:latin typeface="Calibri" panose="020F0502020204030204"/>
                <a:ea typeface="+mn-ea"/>
                <a:cs typeface="+mn-cs"/>
              </a:rPr>
              <a:t>Belonging: aim for the top right box</a:t>
            </a:r>
          </a:p>
        </p:txBody>
      </p:sp>
      <p:sp>
        <p:nvSpPr>
          <p:cNvPr id="9" name="TextBox 8">
            <a:extLst>
              <a:ext uri="{FF2B5EF4-FFF2-40B4-BE49-F238E27FC236}">
                <a16:creationId xmlns:a16="http://schemas.microsoft.com/office/drawing/2014/main" id="{4527D640-8762-4351-AD86-138C66BF19AD}"/>
              </a:ext>
            </a:extLst>
          </p:cNvPr>
          <p:cNvSpPr txBox="1"/>
          <p:nvPr/>
        </p:nvSpPr>
        <p:spPr>
          <a:xfrm>
            <a:off x="911425" y="6099328"/>
            <a:ext cx="9701869" cy="354008"/>
          </a:xfrm>
          <a:prstGeom prst="rect">
            <a:avLst/>
          </a:prstGeom>
          <a:noFill/>
        </p:spPr>
        <p:txBody>
          <a:bodyPr wrap="square">
            <a:spAutoFit/>
          </a:bodyPr>
          <a:lstStyle/>
          <a:p>
            <a:pPr marL="914400" marR="0" lvl="0" indent="0" algn="ctr" defTabSz="457058" rtl="0" eaLnBrk="1" fontAlgn="auto" latinLnBrk="0" hangingPunct="1">
              <a:lnSpc>
                <a:spcPts val="1000"/>
              </a:lnSpc>
              <a:spcBef>
                <a:spcPts val="0"/>
              </a:spcBef>
              <a:spcAft>
                <a:spcPts val="80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ources: </a:t>
            </a:r>
            <a:r>
              <a:rPr kumimoji="0" lang="en-GB" sz="110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Times New Roman" panose="02020603050405020304" pitchFamily="18" charset="0"/>
                <a:hlinkClick r:id="rId3"/>
              </a:rPr>
              <a:t>Inclusion and Diversity in Work Groups: A Review and Model for Future Research</a:t>
            </a: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2010)  Lynn Shore and colleagues  and </a:t>
            </a:r>
            <a:r>
              <a:rPr kumimoji="0" lang="en-GB" sz="110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Times New Roman" panose="02020603050405020304" pitchFamily="18" charset="0"/>
                <a:hlinkClick r:id="rId4"/>
              </a:rPr>
              <a:t>Why belonging is such a big issue in business today</a:t>
            </a: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2020) Josh Bersin </a:t>
            </a:r>
          </a:p>
        </p:txBody>
      </p:sp>
    </p:spTree>
    <p:extLst>
      <p:ext uri="{BB962C8B-B14F-4D97-AF65-F5344CB8AC3E}">
        <p14:creationId xmlns:p14="http://schemas.microsoft.com/office/powerpoint/2010/main" val="19544730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580321-BF4F-461C-B7FB-8D636D3B08CA}"/>
              </a:ext>
            </a:extLst>
          </p:cNvPr>
          <p:cNvPicPr/>
          <p:nvPr/>
        </p:nvPicPr>
        <p:blipFill>
          <a:blip r:embed="rId2"/>
          <a:stretch>
            <a:fillRect/>
          </a:stretch>
        </p:blipFill>
        <p:spPr>
          <a:xfrm>
            <a:off x="1323975" y="762000"/>
            <a:ext cx="8878991" cy="5191125"/>
          </a:xfrm>
          <a:prstGeom prst="rect">
            <a:avLst/>
          </a:prstGeom>
        </p:spPr>
      </p:pic>
      <p:sp>
        <p:nvSpPr>
          <p:cNvPr id="4" name="TextBox 3">
            <a:extLst>
              <a:ext uri="{FF2B5EF4-FFF2-40B4-BE49-F238E27FC236}">
                <a16:creationId xmlns:a16="http://schemas.microsoft.com/office/drawing/2014/main" id="{A8E01F2B-B870-431A-99EE-CF93D6B70205}"/>
              </a:ext>
            </a:extLst>
          </p:cNvPr>
          <p:cNvSpPr txBox="1"/>
          <p:nvPr/>
        </p:nvSpPr>
        <p:spPr>
          <a:xfrm>
            <a:off x="323850" y="6093296"/>
            <a:ext cx="11725275" cy="609013"/>
          </a:xfrm>
          <a:prstGeom prst="rect">
            <a:avLst/>
          </a:prstGeom>
          <a:noFill/>
        </p:spPr>
        <p:txBody>
          <a:bodyPr wrap="square">
            <a:spAutoFit/>
          </a:bodyPr>
          <a:lstStyle/>
          <a:p>
            <a:pPr marL="0" marR="0" lvl="0" indent="0" algn="l" defTabSz="457058"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Based on</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en-GB" sz="140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Times New Roman" panose="02020603050405020304" pitchFamily="18" charset="0"/>
                <a:hlinkClick r:id="rId3"/>
              </a:rPr>
              <a:t>Why belonging is such a big issue in business today</a:t>
            </a:r>
            <a:r>
              <a:rPr kumimoji="0" lang="en-GB"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2020) Josh Bersin, with additional content, including  from </a:t>
            </a:r>
            <a:r>
              <a:rPr kumimoji="0" lang="en-GB" sz="140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Times New Roman" panose="02020603050405020304" pitchFamily="18" charset="0"/>
                <a:hlinkClick r:id="rId4"/>
              </a:rPr>
              <a:t>The value of belonging at work</a:t>
            </a:r>
            <a:r>
              <a:rPr kumimoji="0" lang="en-GB"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2020) BetterUp</a:t>
            </a:r>
          </a:p>
        </p:txBody>
      </p:sp>
      <p:sp>
        <p:nvSpPr>
          <p:cNvPr id="5" name="TextBox 4">
            <a:extLst>
              <a:ext uri="{FF2B5EF4-FFF2-40B4-BE49-F238E27FC236}">
                <a16:creationId xmlns:a16="http://schemas.microsoft.com/office/drawing/2014/main" id="{1707D8A0-7940-4CFA-99CB-D881C1325B90}"/>
              </a:ext>
            </a:extLst>
          </p:cNvPr>
          <p:cNvSpPr txBox="1"/>
          <p:nvPr/>
        </p:nvSpPr>
        <p:spPr>
          <a:xfrm flipH="1">
            <a:off x="428304" y="54114"/>
            <a:ext cx="6820445" cy="707886"/>
          </a:xfrm>
          <a:prstGeom prst="rect">
            <a:avLst/>
          </a:prstGeom>
          <a:noFill/>
        </p:spPr>
        <p:txBody>
          <a:bodyPr wrap="square" rtlCol="0">
            <a:spAutoFit/>
          </a:bodyPr>
          <a:lstStyle/>
          <a:p>
            <a:pPr marL="0" marR="0" lvl="0" indent="0" algn="l" defTabSz="457058"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4472C4"/>
                </a:solidFill>
                <a:effectLst/>
                <a:uLnTx/>
                <a:uFillTx/>
                <a:latin typeface="Calibri" panose="020F0502020204030204"/>
                <a:ea typeface="+mn-ea"/>
                <a:cs typeface="+mn-cs"/>
              </a:rPr>
              <a:t>How do we build belonging?</a:t>
            </a:r>
          </a:p>
        </p:txBody>
      </p:sp>
    </p:spTree>
    <p:extLst>
      <p:ext uri="{BB962C8B-B14F-4D97-AF65-F5344CB8AC3E}">
        <p14:creationId xmlns:p14="http://schemas.microsoft.com/office/powerpoint/2010/main" val="20343029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a:extLst>
              <a:ext uri="{FF2B5EF4-FFF2-40B4-BE49-F238E27FC236}">
                <a16:creationId xmlns:a16="http://schemas.microsoft.com/office/drawing/2014/main" id="{DDD6265D-A7EF-4CA6-B537-3C085DD7909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1085" y="257175"/>
            <a:ext cx="11244690" cy="62993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20537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14251D4-D22F-C519-F414-1786064C7C1E}"/>
              </a:ext>
            </a:extLst>
          </p:cNvPr>
          <p:cNvSpPr>
            <a:spLocks noGrp="1"/>
          </p:cNvSpPr>
          <p:nvPr>
            <p:ph idx="1"/>
          </p:nvPr>
        </p:nvSpPr>
        <p:spPr>
          <a:xfrm>
            <a:off x="355458" y="1555560"/>
            <a:ext cx="2846405" cy="2160267"/>
          </a:xfrm>
        </p:spPr>
        <p:txBody>
          <a:bodyPr vert="horz" lIns="0" tIns="0" rIns="0" bIns="0" rtlCol="0" anchor="t">
            <a:noAutofit/>
          </a:bodyPr>
          <a:lstStyle/>
          <a:p>
            <a:pPr marL="0" indent="0" algn="just">
              <a:buNone/>
            </a:pPr>
            <a:endParaRPr lang="en-GB" sz="1600" dirty="0">
              <a:latin typeface="Arial"/>
              <a:cs typeface="Calibri"/>
            </a:endParaRPr>
          </a:p>
          <a:p>
            <a:pPr marL="0" indent="0" algn="just">
              <a:buNone/>
            </a:pPr>
            <a:endParaRPr lang="en-GB" sz="1600" b="1" dirty="0">
              <a:cs typeface="Calibri"/>
            </a:endParaRPr>
          </a:p>
          <a:p>
            <a:pPr marL="0" indent="0" algn="just">
              <a:buNone/>
            </a:pPr>
            <a:endParaRPr lang="en-GB" sz="1200" dirty="0">
              <a:cs typeface="Calibri"/>
            </a:endParaRPr>
          </a:p>
          <a:p>
            <a:pPr marL="0" indent="0" algn="just">
              <a:buNone/>
            </a:pPr>
            <a:endParaRPr lang="en-GB" sz="1200" dirty="0">
              <a:cs typeface="Calibri"/>
            </a:endParaRPr>
          </a:p>
          <a:p>
            <a:pPr marL="0" indent="0" algn="just">
              <a:buNone/>
            </a:pPr>
            <a:endParaRPr lang="en-US" sz="1100" dirty="0">
              <a:cs typeface="Arial"/>
            </a:endParaRPr>
          </a:p>
        </p:txBody>
      </p:sp>
      <p:pic>
        <p:nvPicPr>
          <p:cNvPr id="5" name="Picture 4">
            <a:extLst>
              <a:ext uri="{FF2B5EF4-FFF2-40B4-BE49-F238E27FC236}">
                <a16:creationId xmlns:a16="http://schemas.microsoft.com/office/drawing/2014/main" id="{6063FF1F-7D4C-4B5A-ADF1-9CA3DF933749}"/>
              </a:ext>
            </a:extLst>
          </p:cNvPr>
          <p:cNvPicPr>
            <a:picLocks noChangeAspect="1"/>
          </p:cNvPicPr>
          <p:nvPr/>
        </p:nvPicPr>
        <p:blipFill rotWithShape="1">
          <a:blip r:embed="rId3"/>
          <a:srcRect l="1247" t="14981" r="684" b="-2"/>
          <a:stretch/>
        </p:blipFill>
        <p:spPr>
          <a:xfrm>
            <a:off x="1165010" y="1575966"/>
            <a:ext cx="8206618" cy="4842971"/>
          </a:xfrm>
          <a:prstGeom prst="rect">
            <a:avLst/>
          </a:prstGeom>
        </p:spPr>
      </p:pic>
      <p:sp>
        <p:nvSpPr>
          <p:cNvPr id="4" name="Rectangle 3">
            <a:extLst>
              <a:ext uri="{FF2B5EF4-FFF2-40B4-BE49-F238E27FC236}">
                <a16:creationId xmlns:a16="http://schemas.microsoft.com/office/drawing/2014/main" id="{2EC6B3E7-A92D-496C-8DE0-1AC5E7BFA3FB}"/>
              </a:ext>
            </a:extLst>
          </p:cNvPr>
          <p:cNvSpPr/>
          <p:nvPr/>
        </p:nvSpPr>
        <p:spPr>
          <a:xfrm>
            <a:off x="3780197" y="1295400"/>
            <a:ext cx="3686174" cy="52339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3AFEE539-0F7C-44CE-89DA-7E4049B73643}"/>
              </a:ext>
            </a:extLst>
          </p:cNvPr>
          <p:cNvSpPr/>
          <p:nvPr/>
        </p:nvSpPr>
        <p:spPr>
          <a:xfrm>
            <a:off x="10115550" y="1209675"/>
            <a:ext cx="1781813" cy="10001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1AECA92E-F659-C479-C70D-81DF87B89749}"/>
              </a:ext>
            </a:extLst>
          </p:cNvPr>
          <p:cNvSpPr txBox="1"/>
          <p:nvPr/>
        </p:nvSpPr>
        <p:spPr>
          <a:xfrm>
            <a:off x="1165010" y="833376"/>
            <a:ext cx="3890057" cy="2585323"/>
          </a:xfrm>
          <a:prstGeom prst="rect">
            <a:avLst/>
          </a:prstGeom>
          <a:solidFill>
            <a:srgbClr val="F78B8B"/>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0" cap="none" spc="0" normalizeH="0" baseline="0" noProof="0" dirty="0">
                <a:ln>
                  <a:noFill/>
                </a:ln>
                <a:solidFill>
                  <a:prstClr val="black"/>
                </a:solidFill>
                <a:effectLst/>
                <a:uLnTx/>
                <a:uFillTx/>
                <a:latin typeface="Calibri" panose="020F0502020204030204"/>
                <a:ea typeface="+mn-ea"/>
                <a:cs typeface="+mn-cs"/>
              </a:rPr>
              <a:t>Belief system o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Calibri" panose="020F0502020204030204"/>
                <a:ea typeface="+mn-ea"/>
                <a:cs typeface="+mn-cs"/>
              </a:rPr>
              <a:t>The people in our teams are resources to be managed and controlled. If we really believe this then let's have strong hierarchies, tight job descriptions, management reviews, budget reviews, stretching targets, a strong procurement function, and departments that hard-wire us in.</a:t>
            </a:r>
            <a:endParaRPr kumimoji="0" lang="en-GB" sz="1800" b="1" i="0" u="none" strike="noStrike" kern="0" cap="none" spc="0" normalizeH="0" baseline="0" noProof="0" dirty="0">
              <a:ln>
                <a:noFill/>
              </a:ln>
              <a:solidFill>
                <a:prstClr val="black"/>
              </a:solidFill>
              <a:effectLst/>
              <a:uLnTx/>
              <a:uFillTx/>
              <a:latin typeface="Calibri" panose="020F0502020204030204"/>
              <a:ea typeface="+mn-ea"/>
              <a:cs typeface="Arial"/>
            </a:endParaRPr>
          </a:p>
        </p:txBody>
      </p:sp>
      <p:sp>
        <p:nvSpPr>
          <p:cNvPr id="13" name="TextBox 12">
            <a:extLst>
              <a:ext uri="{FF2B5EF4-FFF2-40B4-BE49-F238E27FC236}">
                <a16:creationId xmlns:a16="http://schemas.microsoft.com/office/drawing/2014/main" id="{7664FF2D-05D6-FFF2-C0A6-D55156040BDF}"/>
              </a:ext>
            </a:extLst>
          </p:cNvPr>
          <p:cNvSpPr txBox="1"/>
          <p:nvPr/>
        </p:nvSpPr>
        <p:spPr>
          <a:xfrm>
            <a:off x="5533175" y="878471"/>
            <a:ext cx="4720757" cy="2308324"/>
          </a:xfrm>
          <a:prstGeom prst="rect">
            <a:avLst/>
          </a:prstGeom>
          <a:solidFill>
            <a:srgbClr val="C3EBA2"/>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0" cap="none" spc="0" normalizeH="0" baseline="0" noProof="0" dirty="0">
                <a:ln>
                  <a:noFill/>
                </a:ln>
                <a:solidFill>
                  <a:prstClr val="black"/>
                </a:solidFill>
                <a:effectLst/>
                <a:uLnTx/>
                <a:uFillTx/>
                <a:latin typeface="Calibri" panose="020F0502020204030204"/>
                <a:ea typeface="+mn-ea"/>
                <a:cs typeface="+mn-cs"/>
              </a:rPr>
              <a:t>Belief system two</a:t>
            </a:r>
            <a:endParaRPr kumimoji="0" lang="en-GB" sz="1800" b="1" i="0" u="none" strike="noStrike" kern="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Calibri" panose="020F0502020204030204"/>
                <a:ea typeface="+mn-ea"/>
                <a:cs typeface="+mn-cs"/>
              </a:rPr>
              <a:t>The people in our teams are imaginative and innovative. If we truly believe this then let's distribute power. In the world, outsiders become insiders, we all contribute to innovations, small teams have autonomy, work is social, creative skills are core and everyone experim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dirty="0">
              <a:ln>
                <a:noFill/>
              </a:ln>
              <a:solidFill>
                <a:prstClr val="black"/>
              </a:solidFill>
              <a:effectLst/>
              <a:uLnTx/>
              <a:uFillTx/>
              <a:latin typeface="Calibri" panose="020F0502020204030204"/>
              <a:ea typeface="+mn-ea"/>
              <a:cs typeface="Arial"/>
            </a:endParaRPr>
          </a:p>
        </p:txBody>
      </p:sp>
      <p:sp>
        <p:nvSpPr>
          <p:cNvPr id="11" name="Title 1">
            <a:extLst>
              <a:ext uri="{FF2B5EF4-FFF2-40B4-BE49-F238E27FC236}">
                <a16:creationId xmlns:a16="http://schemas.microsoft.com/office/drawing/2014/main" id="{FCA4B10E-C12C-A0DF-C61E-D7D5D163FE0A}"/>
              </a:ext>
            </a:extLst>
          </p:cNvPr>
          <p:cNvSpPr txBox="1">
            <a:spLocks/>
          </p:cNvSpPr>
          <p:nvPr/>
        </p:nvSpPr>
        <p:spPr>
          <a:xfrm>
            <a:off x="457200" y="160688"/>
            <a:ext cx="11277600" cy="758952"/>
          </a:xfrm>
          <a:prstGeom prst="rect">
            <a:avLst/>
          </a:prstGeom>
        </p:spPr>
        <p:txBody>
          <a:bodyPr vert="horz" lIns="0" tIns="0" rIns="0" bIns="0" rtlCol="0" anchor="ctr" anchorCtr="0">
            <a:noAutofit/>
          </a:bodyPr>
          <a:lstStyle>
            <a:lvl1pPr algn="l" defTabSz="914370" rtl="0" eaLnBrk="1" latinLnBrk="0" hangingPunct="1">
              <a:lnSpc>
                <a:spcPct val="90000"/>
              </a:lnSpc>
              <a:spcBef>
                <a:spcPct val="0"/>
              </a:spcBef>
              <a:buNone/>
              <a:defRPr sz="2600" b="1" kern="0" cap="none" baseline="0">
                <a:solidFill>
                  <a:schemeClr val="accent2"/>
                </a:solidFill>
                <a:latin typeface="+mj-lt"/>
                <a:ea typeface="+mj-ea"/>
                <a:cs typeface="+mj-cs"/>
              </a:defRPr>
            </a:lvl1pPr>
          </a:lstStyle>
          <a:p>
            <a:pPr marL="0" marR="0" lvl="0" indent="0" algn="l" defTabSz="914370" rtl="0" eaLnBrk="1" fontAlgn="auto" latinLnBrk="0" hangingPunct="1">
              <a:lnSpc>
                <a:spcPct val="90000"/>
              </a:lnSpc>
              <a:spcBef>
                <a:spcPct val="0"/>
              </a:spcBef>
              <a:spcAft>
                <a:spcPts val="0"/>
              </a:spcAft>
              <a:buClrTx/>
              <a:buSzTx/>
              <a:buFontTx/>
              <a:buNone/>
              <a:tabLst/>
              <a:defRPr/>
            </a:pPr>
            <a:r>
              <a:rPr kumimoji="0" lang="en-US" sz="3600" b="1" i="0" u="none" strike="noStrike" kern="0" cap="none" spc="0" normalizeH="0" baseline="0" noProof="0" dirty="0">
                <a:ln>
                  <a:noFill/>
                </a:ln>
                <a:solidFill>
                  <a:srgbClr val="4472C4"/>
                </a:solidFill>
                <a:effectLst/>
                <a:uLnTx/>
                <a:uFillTx/>
                <a:latin typeface="Calibri" panose="020F0502020204030204"/>
                <a:ea typeface="+mj-ea"/>
                <a:cs typeface="+mj-cs"/>
              </a:rPr>
              <a:t>What’s our prevalent belief system?</a:t>
            </a:r>
            <a:endParaRPr kumimoji="0" lang="en-US" sz="3600" b="1" i="0" u="none" strike="noStrike" kern="0" cap="none" spc="0" normalizeH="0" baseline="0" noProof="0" dirty="0">
              <a:ln>
                <a:noFill/>
              </a:ln>
              <a:solidFill>
                <a:srgbClr val="4472C4"/>
              </a:solidFill>
              <a:effectLst/>
              <a:uLnTx/>
              <a:uFillTx/>
              <a:latin typeface="Calibri" panose="020F0502020204030204"/>
              <a:ea typeface="+mj-ea"/>
              <a:cs typeface="Arial"/>
            </a:endParaRPr>
          </a:p>
        </p:txBody>
      </p:sp>
      <p:sp>
        <p:nvSpPr>
          <p:cNvPr id="14" name="TextBox 13">
            <a:extLst>
              <a:ext uri="{FF2B5EF4-FFF2-40B4-BE49-F238E27FC236}">
                <a16:creationId xmlns:a16="http://schemas.microsoft.com/office/drawing/2014/main" id="{6D0CA1D1-348E-450A-A53D-52E0073965BF}"/>
              </a:ext>
            </a:extLst>
          </p:cNvPr>
          <p:cNvSpPr txBox="1"/>
          <p:nvPr/>
        </p:nvSpPr>
        <p:spPr>
          <a:xfrm>
            <a:off x="4582988" y="6439343"/>
            <a:ext cx="9217765" cy="307777"/>
          </a:xfrm>
          <a:prstGeom prst="rect">
            <a:avLst/>
          </a:prstGeom>
          <a:noFill/>
        </p:spPr>
        <p:txBody>
          <a:bodyPr wrap="square">
            <a:spAutoFit/>
          </a:bodyPr>
          <a:lstStyle/>
          <a:p>
            <a:r>
              <a:rPr lang="en-GB" sz="1400" dirty="0">
                <a:hlinkClick r:id="rId4"/>
              </a:rPr>
              <a:t>www.landmarkspace.co.uk/wp-content/uploads/2021/03/2908_The_Human_Organisation_r1.pdf</a:t>
            </a:r>
            <a:r>
              <a:rPr lang="en-GB" sz="1400" dirty="0"/>
              <a:t> </a:t>
            </a:r>
          </a:p>
        </p:txBody>
      </p:sp>
      <p:sp>
        <p:nvSpPr>
          <p:cNvPr id="7" name="TextBox 6">
            <a:extLst>
              <a:ext uri="{FF2B5EF4-FFF2-40B4-BE49-F238E27FC236}">
                <a16:creationId xmlns:a16="http://schemas.microsoft.com/office/drawing/2014/main" id="{D352C2F9-FEAE-4FA8-AD1C-B6FFE28221E3}"/>
              </a:ext>
            </a:extLst>
          </p:cNvPr>
          <p:cNvSpPr txBox="1"/>
          <p:nvPr/>
        </p:nvSpPr>
        <p:spPr>
          <a:xfrm>
            <a:off x="3780197" y="6398769"/>
            <a:ext cx="939488" cy="369332"/>
          </a:xfrm>
          <a:prstGeom prst="rect">
            <a:avLst/>
          </a:prstGeom>
          <a:noFill/>
        </p:spPr>
        <p:txBody>
          <a:bodyPr wrap="none" rtlCol="0">
            <a:spAutoFit/>
          </a:bodyPr>
          <a:lstStyle/>
          <a:p>
            <a:r>
              <a:rPr lang="en-GB" dirty="0"/>
              <a:t>Source: </a:t>
            </a:r>
          </a:p>
        </p:txBody>
      </p:sp>
    </p:spTree>
    <p:extLst>
      <p:ext uri="{BB962C8B-B14F-4D97-AF65-F5344CB8AC3E}">
        <p14:creationId xmlns:p14="http://schemas.microsoft.com/office/powerpoint/2010/main" val="39373652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a:extLst>
              <a:ext uri="{FF2B5EF4-FFF2-40B4-BE49-F238E27FC236}">
                <a16:creationId xmlns:a16="http://schemas.microsoft.com/office/drawing/2014/main" id="{DDD6265D-A7EF-4CA6-B537-3C085DD7909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1085" y="257175"/>
            <a:ext cx="11244690" cy="62993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21933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A3978C-BB08-450F-895E-C0B498CACBD2}"/>
              </a:ext>
            </a:extLst>
          </p:cNvPr>
          <p:cNvSpPr>
            <a:spLocks noGrp="1"/>
          </p:cNvSpPr>
          <p:nvPr>
            <p:ph idx="1"/>
          </p:nvPr>
        </p:nvSpPr>
        <p:spPr>
          <a:xfrm>
            <a:off x="129670" y="1539437"/>
            <a:ext cx="10515600" cy="4351338"/>
          </a:xfrm>
        </p:spPr>
        <p:txBody>
          <a:bodyPr>
            <a:noAutofit/>
          </a:bodyPr>
          <a:lstStyle/>
          <a:p>
            <a:pPr marL="514350" indent="-514350" algn="just" fontAlgn="base">
              <a:buFont typeface="+mj-lt"/>
              <a:buAutoNum type="arabicPeriod"/>
            </a:pPr>
            <a:r>
              <a:rPr lang="en-GB" sz="2600" b="0" dirty="0">
                <a:solidFill>
                  <a:srgbClr val="2B2B2B"/>
                </a:solidFill>
                <a:effectLst/>
              </a:rPr>
              <a:t>People support what they create</a:t>
            </a:r>
          </a:p>
          <a:p>
            <a:pPr marL="514350" indent="-514350" algn="just" fontAlgn="base">
              <a:buFont typeface="+mj-lt"/>
              <a:buAutoNum type="arabicPeriod"/>
            </a:pPr>
            <a:r>
              <a:rPr lang="en-GB" sz="2600" b="0" dirty="0">
                <a:solidFill>
                  <a:srgbClr val="2B2B2B"/>
                </a:solidFill>
                <a:effectLst/>
              </a:rPr>
              <a:t>People act responsibly when they care</a:t>
            </a:r>
          </a:p>
          <a:p>
            <a:pPr marL="514350" indent="-514350" algn="just" fontAlgn="base">
              <a:buFont typeface="+mj-lt"/>
              <a:buAutoNum type="arabicPeriod"/>
            </a:pPr>
            <a:r>
              <a:rPr lang="en-GB" sz="2600" b="0" dirty="0">
                <a:solidFill>
                  <a:srgbClr val="2B2B2B"/>
                </a:solidFill>
                <a:effectLst/>
              </a:rPr>
              <a:t>Conversation is the way human beings have always thought</a:t>
            </a:r>
          </a:p>
          <a:p>
            <a:pPr marL="514350" indent="-514350" algn="just" fontAlgn="base">
              <a:buFont typeface="+mj-lt"/>
              <a:buAutoNum type="arabicPeriod"/>
            </a:pPr>
            <a:r>
              <a:rPr lang="en-GB" sz="2600" b="0" dirty="0">
                <a:solidFill>
                  <a:srgbClr val="2B2B2B"/>
                </a:solidFill>
                <a:effectLst/>
              </a:rPr>
              <a:t>To change the conversation, change who is in it</a:t>
            </a:r>
          </a:p>
          <a:p>
            <a:pPr marL="514350" indent="-514350" algn="just" fontAlgn="base">
              <a:buFont typeface="+mj-lt"/>
              <a:buAutoNum type="arabicPeriod"/>
            </a:pPr>
            <a:r>
              <a:rPr lang="en-GB" sz="2600" b="0" dirty="0">
                <a:solidFill>
                  <a:srgbClr val="2B2B2B"/>
                </a:solidFill>
                <a:effectLst/>
              </a:rPr>
              <a:t>Expect leaders to come from anywhere</a:t>
            </a:r>
          </a:p>
          <a:p>
            <a:pPr marL="514350" indent="-514350" algn="just" fontAlgn="base">
              <a:buFont typeface="+mj-lt"/>
              <a:buAutoNum type="arabicPeriod"/>
            </a:pPr>
            <a:r>
              <a:rPr lang="en-GB" sz="2600" b="0" dirty="0">
                <a:solidFill>
                  <a:srgbClr val="2B2B2B"/>
                </a:solidFill>
                <a:effectLst/>
              </a:rPr>
              <a:t>Focusing on what is working gives us energy and creativity</a:t>
            </a:r>
          </a:p>
          <a:p>
            <a:pPr marL="514350" indent="-514350" algn="just" fontAlgn="base">
              <a:buFont typeface="+mj-lt"/>
              <a:buAutoNum type="arabicPeriod"/>
            </a:pPr>
            <a:r>
              <a:rPr lang="en-GB" sz="2600" b="0" dirty="0">
                <a:solidFill>
                  <a:srgbClr val="2B2B2B"/>
                </a:solidFill>
                <a:effectLst/>
              </a:rPr>
              <a:t>The wisdom resides within us</a:t>
            </a:r>
          </a:p>
          <a:p>
            <a:pPr marL="514350" indent="-514350" algn="just" fontAlgn="base">
              <a:buFont typeface="+mj-lt"/>
              <a:buAutoNum type="arabicPeriod"/>
            </a:pPr>
            <a:r>
              <a:rPr lang="en-GB" sz="2600" b="0" dirty="0">
                <a:solidFill>
                  <a:srgbClr val="2B2B2B"/>
                </a:solidFill>
                <a:effectLst/>
              </a:rPr>
              <a:t>Everything is a failure in the middle</a:t>
            </a:r>
          </a:p>
          <a:p>
            <a:pPr marL="514350" indent="-514350" algn="just" fontAlgn="base">
              <a:buFont typeface="+mj-lt"/>
              <a:buAutoNum type="arabicPeriod"/>
            </a:pPr>
            <a:r>
              <a:rPr lang="en-GB" sz="2600" b="0" dirty="0">
                <a:solidFill>
                  <a:srgbClr val="2B2B2B"/>
                </a:solidFill>
                <a:effectLst/>
              </a:rPr>
              <a:t>Humans can handle anything as long as we’re together</a:t>
            </a:r>
          </a:p>
          <a:p>
            <a:pPr marL="514350" indent="-514350" algn="just" fontAlgn="base">
              <a:buFont typeface="+mj-lt"/>
              <a:buAutoNum type="arabicPeriod"/>
            </a:pPr>
            <a:r>
              <a:rPr lang="en-GB" sz="2600" b="0" dirty="0">
                <a:solidFill>
                  <a:srgbClr val="2B2B2B"/>
                </a:solidFill>
                <a:effectLst/>
              </a:rPr>
              <a:t>Generosity, forgiveness and love: these are the most important elements                                            in a community</a:t>
            </a:r>
            <a:endParaRPr lang="en-GB" sz="2600" dirty="0"/>
          </a:p>
        </p:txBody>
      </p:sp>
      <p:sp>
        <p:nvSpPr>
          <p:cNvPr id="5" name="TextBox 4">
            <a:extLst>
              <a:ext uri="{FF2B5EF4-FFF2-40B4-BE49-F238E27FC236}">
                <a16:creationId xmlns:a16="http://schemas.microsoft.com/office/drawing/2014/main" id="{6A5ECE34-BD8E-496D-91A6-D4D06B5FBDA3}"/>
              </a:ext>
            </a:extLst>
          </p:cNvPr>
          <p:cNvSpPr txBox="1"/>
          <p:nvPr/>
        </p:nvSpPr>
        <p:spPr>
          <a:xfrm>
            <a:off x="8111404" y="4419099"/>
            <a:ext cx="3918537" cy="132343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https://medium.com/together-institute/10-principles-for-healthy-communities-by-meg-wheatley-6466fe1d070d</a:t>
            </a: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6" name="TextBox 5">
            <a:extLst>
              <a:ext uri="{FF2B5EF4-FFF2-40B4-BE49-F238E27FC236}">
                <a16:creationId xmlns:a16="http://schemas.microsoft.com/office/drawing/2014/main" id="{FE8EF08A-A8F0-42B8-8DA1-4E679BF18EBA}"/>
              </a:ext>
            </a:extLst>
          </p:cNvPr>
          <p:cNvSpPr txBox="1"/>
          <p:nvPr/>
        </p:nvSpPr>
        <p:spPr>
          <a:xfrm>
            <a:off x="8166882" y="6409683"/>
            <a:ext cx="4418142" cy="276997"/>
          </a:xfrm>
          <a:prstGeom prst="rect">
            <a:avLst/>
          </a:prstGeom>
          <a:noFill/>
          <a:ln>
            <a:noFill/>
          </a:ln>
        </p:spPr>
        <p:txBody>
          <a:bodyPr vert="horz" wrap="square" lIns="91438" tIns="45719" rIns="91438" bIns="45719" anchor="t" anchorCtr="0" compatLnSpc="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200" b="1" i="0" u="none" strike="noStrike" kern="0" cap="none" spc="0" normalizeH="0" baseline="0" noProof="0" dirty="0">
                <a:ln>
                  <a:noFill/>
                </a:ln>
                <a:solidFill>
                  <a:srgbClr val="147588"/>
                </a:solidFill>
                <a:effectLst/>
                <a:uLnTx/>
                <a:uFillTx/>
                <a:latin typeface="Calibri" panose="020F0502020204030204"/>
                <a:ea typeface="+mn-ea"/>
                <a:cs typeface="+mn-cs"/>
              </a:rPr>
              <a:t>@HelenBevanTweet a year of Twitter slides 2021 May 2</a:t>
            </a:r>
            <a:r>
              <a:rPr kumimoji="0" lang="en-GB" sz="1200" b="1" i="0" u="none" strike="noStrike" kern="0" cap="none" spc="0" normalizeH="0" baseline="30000" noProof="0" dirty="0">
                <a:ln>
                  <a:noFill/>
                </a:ln>
                <a:solidFill>
                  <a:srgbClr val="147588"/>
                </a:solidFill>
                <a:effectLst/>
                <a:uLnTx/>
                <a:uFillTx/>
                <a:latin typeface="Calibri" panose="020F0502020204030204"/>
                <a:ea typeface="+mn-ea"/>
                <a:cs typeface="+mn-cs"/>
              </a:rPr>
              <a:t>nd</a:t>
            </a:r>
            <a:r>
              <a:rPr kumimoji="0" lang="en-GB" sz="1200" b="1" i="0" u="none" strike="noStrike" kern="0" cap="none" spc="0" normalizeH="0" baseline="0" noProof="0" dirty="0">
                <a:ln>
                  <a:noFill/>
                </a:ln>
                <a:solidFill>
                  <a:srgbClr val="147588"/>
                </a:solidFill>
                <a:effectLst/>
                <a:uLnTx/>
                <a:uFillTx/>
                <a:latin typeface="Calibri" panose="020F0502020204030204"/>
                <a:ea typeface="+mn-ea"/>
                <a:cs typeface="+mn-cs"/>
              </a:rPr>
              <a:t> </a:t>
            </a:r>
          </a:p>
        </p:txBody>
      </p:sp>
      <p:pic>
        <p:nvPicPr>
          <p:cNvPr id="1026" name="Picture 2" descr="Make WordPress Communities – Building Local Communities">
            <a:extLst>
              <a:ext uri="{FF2B5EF4-FFF2-40B4-BE49-F238E27FC236}">
                <a16:creationId xmlns:a16="http://schemas.microsoft.com/office/drawing/2014/main" id="{A97D7939-7D58-48F3-9F1C-6808B4937F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17654" y="309818"/>
            <a:ext cx="3288576" cy="3656322"/>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p14="http://schemas.microsoft.com/office/powerpoint/2010/main">
        <mc:Choice Requires="p14">
          <p:contentPart p14:bwMode="auto" r:id="rId4">
            <p14:nvContentPartPr>
              <p14:cNvPr id="7" name="Ink 6">
                <a:extLst>
                  <a:ext uri="{FF2B5EF4-FFF2-40B4-BE49-F238E27FC236}">
                    <a16:creationId xmlns:a16="http://schemas.microsoft.com/office/drawing/2014/main" id="{DECF2DB6-6C41-4C37-834B-BFBDCD51533A}"/>
                  </a:ext>
                </a:extLst>
              </p14:cNvPr>
              <p14:cNvContentPartPr/>
              <p14:nvPr/>
            </p14:nvContentPartPr>
            <p14:xfrm>
              <a:off x="10631193" y="1110344"/>
              <a:ext cx="365040" cy="587520"/>
            </p14:xfrm>
          </p:contentPart>
        </mc:Choice>
        <mc:Fallback xmlns="">
          <p:pic>
            <p:nvPicPr>
              <p:cNvPr id="7" name="Ink 6">
                <a:extLst>
                  <a:ext uri="{FF2B5EF4-FFF2-40B4-BE49-F238E27FC236}">
                    <a16:creationId xmlns:a16="http://schemas.microsoft.com/office/drawing/2014/main" id="{DECF2DB6-6C41-4C37-834B-BFBDCD51533A}"/>
                  </a:ext>
                </a:extLst>
              </p:cNvPr>
              <p:cNvPicPr/>
              <p:nvPr/>
            </p:nvPicPr>
            <p:blipFill>
              <a:blip r:embed="rId5"/>
              <a:stretch>
                <a:fillRect/>
              </a:stretch>
            </p:blipFill>
            <p:spPr>
              <a:xfrm>
                <a:off x="10613553" y="1074704"/>
                <a:ext cx="400680" cy="6591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9" name="Ink 8">
                <a:extLst>
                  <a:ext uri="{FF2B5EF4-FFF2-40B4-BE49-F238E27FC236}">
                    <a16:creationId xmlns:a16="http://schemas.microsoft.com/office/drawing/2014/main" id="{A4A8D013-B517-48F2-A4CC-CBFF45D931E8}"/>
                  </a:ext>
                </a:extLst>
              </p14:cNvPr>
              <p14:cNvContentPartPr/>
              <p14:nvPr/>
            </p14:nvContentPartPr>
            <p14:xfrm>
              <a:off x="10589073" y="582584"/>
              <a:ext cx="300600" cy="409320"/>
            </p14:xfrm>
          </p:contentPart>
        </mc:Choice>
        <mc:Fallback xmlns="">
          <p:pic>
            <p:nvPicPr>
              <p:cNvPr id="9" name="Ink 8">
                <a:extLst>
                  <a:ext uri="{FF2B5EF4-FFF2-40B4-BE49-F238E27FC236}">
                    <a16:creationId xmlns:a16="http://schemas.microsoft.com/office/drawing/2014/main" id="{A4A8D013-B517-48F2-A4CC-CBFF45D931E8}"/>
                  </a:ext>
                </a:extLst>
              </p:cNvPr>
              <p:cNvPicPr/>
              <p:nvPr/>
            </p:nvPicPr>
            <p:blipFill>
              <a:blip r:embed="rId7"/>
              <a:stretch>
                <a:fillRect/>
              </a:stretch>
            </p:blipFill>
            <p:spPr>
              <a:xfrm>
                <a:off x="10571433" y="546584"/>
                <a:ext cx="336240" cy="48096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0" name="Ink 9">
                <a:extLst>
                  <a:ext uri="{FF2B5EF4-FFF2-40B4-BE49-F238E27FC236}">
                    <a16:creationId xmlns:a16="http://schemas.microsoft.com/office/drawing/2014/main" id="{F2DE8682-A1F7-4781-AD6F-1D854A787FA1}"/>
                  </a:ext>
                </a:extLst>
              </p14:cNvPr>
              <p14:cNvContentPartPr/>
              <p14:nvPr/>
            </p14:nvContentPartPr>
            <p14:xfrm>
              <a:off x="9737673" y="1142024"/>
              <a:ext cx="292320" cy="690480"/>
            </p14:xfrm>
          </p:contentPart>
        </mc:Choice>
        <mc:Fallback xmlns="">
          <p:pic>
            <p:nvPicPr>
              <p:cNvPr id="10" name="Ink 9">
                <a:extLst>
                  <a:ext uri="{FF2B5EF4-FFF2-40B4-BE49-F238E27FC236}">
                    <a16:creationId xmlns:a16="http://schemas.microsoft.com/office/drawing/2014/main" id="{F2DE8682-A1F7-4781-AD6F-1D854A787FA1}"/>
                  </a:ext>
                </a:extLst>
              </p:cNvPr>
              <p:cNvPicPr/>
              <p:nvPr/>
            </p:nvPicPr>
            <p:blipFill>
              <a:blip r:embed="rId9"/>
              <a:stretch>
                <a:fillRect/>
              </a:stretch>
            </p:blipFill>
            <p:spPr>
              <a:xfrm>
                <a:off x="9684033" y="1034384"/>
                <a:ext cx="399960" cy="90612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1" name="Ink 10">
                <a:extLst>
                  <a:ext uri="{FF2B5EF4-FFF2-40B4-BE49-F238E27FC236}">
                    <a16:creationId xmlns:a16="http://schemas.microsoft.com/office/drawing/2014/main" id="{FF28C440-3428-44B4-998C-42C12C939474}"/>
                  </a:ext>
                </a:extLst>
              </p14:cNvPr>
              <p14:cNvContentPartPr/>
              <p14:nvPr/>
            </p14:nvContentPartPr>
            <p14:xfrm>
              <a:off x="9822273" y="659624"/>
              <a:ext cx="226080" cy="278640"/>
            </p14:xfrm>
          </p:contentPart>
        </mc:Choice>
        <mc:Fallback xmlns="">
          <p:pic>
            <p:nvPicPr>
              <p:cNvPr id="11" name="Ink 10">
                <a:extLst>
                  <a:ext uri="{FF2B5EF4-FFF2-40B4-BE49-F238E27FC236}">
                    <a16:creationId xmlns:a16="http://schemas.microsoft.com/office/drawing/2014/main" id="{FF28C440-3428-44B4-998C-42C12C939474}"/>
                  </a:ext>
                </a:extLst>
              </p:cNvPr>
              <p:cNvPicPr/>
              <p:nvPr/>
            </p:nvPicPr>
            <p:blipFill>
              <a:blip r:embed="rId11"/>
              <a:stretch>
                <a:fillRect/>
              </a:stretch>
            </p:blipFill>
            <p:spPr>
              <a:xfrm>
                <a:off x="9768633" y="551984"/>
                <a:ext cx="333720" cy="49428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2" name="Ink 11">
                <a:extLst>
                  <a:ext uri="{FF2B5EF4-FFF2-40B4-BE49-F238E27FC236}">
                    <a16:creationId xmlns:a16="http://schemas.microsoft.com/office/drawing/2014/main" id="{6CD0006A-FDFA-4D54-9192-0169772A30BD}"/>
                  </a:ext>
                </a:extLst>
              </p14:cNvPr>
              <p14:cNvContentPartPr/>
              <p14:nvPr/>
            </p14:nvContentPartPr>
            <p14:xfrm>
              <a:off x="10056993" y="1081184"/>
              <a:ext cx="597600" cy="536040"/>
            </p14:xfrm>
          </p:contentPart>
        </mc:Choice>
        <mc:Fallback xmlns="">
          <p:pic>
            <p:nvPicPr>
              <p:cNvPr id="12" name="Ink 11">
                <a:extLst>
                  <a:ext uri="{FF2B5EF4-FFF2-40B4-BE49-F238E27FC236}">
                    <a16:creationId xmlns:a16="http://schemas.microsoft.com/office/drawing/2014/main" id="{6CD0006A-FDFA-4D54-9192-0169772A30BD}"/>
                  </a:ext>
                </a:extLst>
              </p:cNvPr>
              <p:cNvPicPr/>
              <p:nvPr/>
            </p:nvPicPr>
            <p:blipFill>
              <a:blip r:embed="rId13"/>
              <a:stretch>
                <a:fillRect/>
              </a:stretch>
            </p:blipFill>
            <p:spPr>
              <a:xfrm>
                <a:off x="10020993" y="1009544"/>
                <a:ext cx="669240" cy="67968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3" name="Ink 12">
                <a:extLst>
                  <a:ext uri="{FF2B5EF4-FFF2-40B4-BE49-F238E27FC236}">
                    <a16:creationId xmlns:a16="http://schemas.microsoft.com/office/drawing/2014/main" id="{923F2920-FA3D-4C84-8993-D8F99F1BB421}"/>
                  </a:ext>
                </a:extLst>
              </p14:cNvPr>
              <p14:cNvContentPartPr/>
              <p14:nvPr/>
            </p14:nvContentPartPr>
            <p14:xfrm>
              <a:off x="10191273" y="554864"/>
              <a:ext cx="300960" cy="366480"/>
            </p14:xfrm>
          </p:contentPart>
        </mc:Choice>
        <mc:Fallback xmlns="">
          <p:pic>
            <p:nvPicPr>
              <p:cNvPr id="13" name="Ink 12">
                <a:extLst>
                  <a:ext uri="{FF2B5EF4-FFF2-40B4-BE49-F238E27FC236}">
                    <a16:creationId xmlns:a16="http://schemas.microsoft.com/office/drawing/2014/main" id="{923F2920-FA3D-4C84-8993-D8F99F1BB421}"/>
                  </a:ext>
                </a:extLst>
              </p:cNvPr>
              <p:cNvPicPr/>
              <p:nvPr/>
            </p:nvPicPr>
            <p:blipFill>
              <a:blip r:embed="rId15"/>
              <a:stretch>
                <a:fillRect/>
              </a:stretch>
            </p:blipFill>
            <p:spPr>
              <a:xfrm>
                <a:off x="10155273" y="483224"/>
                <a:ext cx="372600" cy="51012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4" name="Ink 13">
                <a:extLst>
                  <a:ext uri="{FF2B5EF4-FFF2-40B4-BE49-F238E27FC236}">
                    <a16:creationId xmlns:a16="http://schemas.microsoft.com/office/drawing/2014/main" id="{28D3FF5D-DDB9-4329-BACF-931BA5736307}"/>
                  </a:ext>
                </a:extLst>
              </p14:cNvPr>
              <p14:cNvContentPartPr/>
              <p14:nvPr/>
            </p14:nvContentPartPr>
            <p14:xfrm>
              <a:off x="10070673" y="1535504"/>
              <a:ext cx="540000" cy="150480"/>
            </p14:xfrm>
          </p:contentPart>
        </mc:Choice>
        <mc:Fallback xmlns="">
          <p:pic>
            <p:nvPicPr>
              <p:cNvPr id="14" name="Ink 13">
                <a:extLst>
                  <a:ext uri="{FF2B5EF4-FFF2-40B4-BE49-F238E27FC236}">
                    <a16:creationId xmlns:a16="http://schemas.microsoft.com/office/drawing/2014/main" id="{28D3FF5D-DDB9-4329-BACF-931BA5736307}"/>
                  </a:ext>
                </a:extLst>
              </p:cNvPr>
              <p:cNvPicPr/>
              <p:nvPr/>
            </p:nvPicPr>
            <p:blipFill>
              <a:blip r:embed="rId17"/>
              <a:stretch>
                <a:fillRect/>
              </a:stretch>
            </p:blipFill>
            <p:spPr>
              <a:xfrm>
                <a:off x="10053033" y="1499864"/>
                <a:ext cx="575640" cy="22212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5" name="Ink 14">
                <a:extLst>
                  <a:ext uri="{FF2B5EF4-FFF2-40B4-BE49-F238E27FC236}">
                    <a16:creationId xmlns:a16="http://schemas.microsoft.com/office/drawing/2014/main" id="{9ED2DE9B-CC6E-4620-AB6A-61B67B1EA3EF}"/>
                  </a:ext>
                </a:extLst>
              </p14:cNvPr>
              <p14:cNvContentPartPr/>
              <p14:nvPr/>
            </p14:nvContentPartPr>
            <p14:xfrm>
              <a:off x="10203513" y="841064"/>
              <a:ext cx="172440" cy="125640"/>
            </p14:xfrm>
          </p:contentPart>
        </mc:Choice>
        <mc:Fallback xmlns="">
          <p:pic>
            <p:nvPicPr>
              <p:cNvPr id="15" name="Ink 14">
                <a:extLst>
                  <a:ext uri="{FF2B5EF4-FFF2-40B4-BE49-F238E27FC236}">
                    <a16:creationId xmlns:a16="http://schemas.microsoft.com/office/drawing/2014/main" id="{9ED2DE9B-CC6E-4620-AB6A-61B67B1EA3EF}"/>
                  </a:ext>
                </a:extLst>
              </p:cNvPr>
              <p:cNvPicPr/>
              <p:nvPr/>
            </p:nvPicPr>
            <p:blipFill>
              <a:blip r:embed="rId19"/>
              <a:stretch>
                <a:fillRect/>
              </a:stretch>
            </p:blipFill>
            <p:spPr>
              <a:xfrm>
                <a:off x="10185873" y="805424"/>
                <a:ext cx="208080" cy="19728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6" name="Ink 15">
                <a:extLst>
                  <a:ext uri="{FF2B5EF4-FFF2-40B4-BE49-F238E27FC236}">
                    <a16:creationId xmlns:a16="http://schemas.microsoft.com/office/drawing/2014/main" id="{576B5ACA-9C0E-4F6A-B6C4-ECD842E829F3}"/>
                  </a:ext>
                </a:extLst>
              </p14:cNvPr>
              <p14:cNvContentPartPr/>
              <p14:nvPr/>
            </p14:nvContentPartPr>
            <p14:xfrm>
              <a:off x="10215033" y="549464"/>
              <a:ext cx="360" cy="360"/>
            </p14:xfrm>
          </p:contentPart>
        </mc:Choice>
        <mc:Fallback xmlns="">
          <p:pic>
            <p:nvPicPr>
              <p:cNvPr id="16" name="Ink 15">
                <a:extLst>
                  <a:ext uri="{FF2B5EF4-FFF2-40B4-BE49-F238E27FC236}">
                    <a16:creationId xmlns:a16="http://schemas.microsoft.com/office/drawing/2014/main" id="{576B5ACA-9C0E-4F6A-B6C4-ECD842E829F3}"/>
                  </a:ext>
                </a:extLst>
              </p:cNvPr>
              <p:cNvPicPr/>
              <p:nvPr/>
            </p:nvPicPr>
            <p:blipFill>
              <a:blip r:embed="rId21"/>
              <a:stretch>
                <a:fillRect/>
              </a:stretch>
            </p:blipFill>
            <p:spPr>
              <a:xfrm>
                <a:off x="10197033" y="513464"/>
                <a:ext cx="36000" cy="72000"/>
              </a:xfrm>
              <a:prstGeom prst="rect">
                <a:avLst/>
              </a:prstGeom>
            </p:spPr>
          </p:pic>
        </mc:Fallback>
      </mc:AlternateContent>
      <p:sp>
        <p:nvSpPr>
          <p:cNvPr id="4" name="TextBox 3">
            <a:extLst>
              <a:ext uri="{FF2B5EF4-FFF2-40B4-BE49-F238E27FC236}">
                <a16:creationId xmlns:a16="http://schemas.microsoft.com/office/drawing/2014/main" id="{85A598AA-8B59-4732-BFDA-BB1E2B3CDEAF}"/>
              </a:ext>
            </a:extLst>
          </p:cNvPr>
          <p:cNvSpPr txBox="1"/>
          <p:nvPr/>
        </p:nvSpPr>
        <p:spPr>
          <a:xfrm>
            <a:off x="9147758" y="4055420"/>
            <a:ext cx="285847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Source of graphic: adapted from WordPress</a:t>
            </a:r>
          </a:p>
        </p:txBody>
      </p:sp>
      <p:sp>
        <p:nvSpPr>
          <p:cNvPr id="2" name="Title 1">
            <a:extLst>
              <a:ext uri="{FF2B5EF4-FFF2-40B4-BE49-F238E27FC236}">
                <a16:creationId xmlns:a16="http://schemas.microsoft.com/office/drawing/2014/main" id="{2430B1A3-593C-464E-8D7E-77438C389292}"/>
              </a:ext>
            </a:extLst>
          </p:cNvPr>
          <p:cNvSpPr>
            <a:spLocks noGrp="1"/>
          </p:cNvSpPr>
          <p:nvPr>
            <p:ph type="title"/>
          </p:nvPr>
        </p:nvSpPr>
        <p:spPr>
          <a:xfrm>
            <a:off x="185770" y="55818"/>
            <a:ext cx="12006230" cy="1325563"/>
          </a:xfrm>
        </p:spPr>
        <p:txBody>
          <a:bodyPr>
            <a:normAutofit/>
          </a:bodyPr>
          <a:lstStyle/>
          <a:p>
            <a:r>
              <a:rPr lang="en-GB" sz="3400" b="1" dirty="0">
                <a:solidFill>
                  <a:schemeClr val="accent1"/>
                </a:solidFill>
                <a:latin typeface="+mn-lt"/>
              </a:rPr>
              <a:t>Ten principles for building a healthy community </a:t>
            </a:r>
            <a:br>
              <a:rPr lang="en-GB" sz="3400" b="1" dirty="0">
                <a:solidFill>
                  <a:schemeClr val="accent1"/>
                </a:solidFill>
                <a:latin typeface="+mn-lt"/>
              </a:rPr>
            </a:br>
            <a:r>
              <a:rPr lang="en-GB" sz="3400" b="1" dirty="0">
                <a:solidFill>
                  <a:schemeClr val="accent1"/>
                </a:solidFill>
                <a:latin typeface="+mn-lt"/>
              </a:rPr>
              <a:t>by Margaret Wheatley</a:t>
            </a:r>
          </a:p>
        </p:txBody>
      </p:sp>
    </p:spTree>
    <p:extLst>
      <p:ext uri="{BB962C8B-B14F-4D97-AF65-F5344CB8AC3E}">
        <p14:creationId xmlns:p14="http://schemas.microsoft.com/office/powerpoint/2010/main" val="20137645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3B0BD4E-59B2-4D8B-B808-2B0CDB5BE773}"/>
              </a:ext>
            </a:extLst>
          </p:cNvPr>
          <p:cNvSpPr txBox="1"/>
          <p:nvPr/>
        </p:nvSpPr>
        <p:spPr>
          <a:xfrm>
            <a:off x="0" y="6488668"/>
            <a:ext cx="10417810" cy="369332"/>
          </a:xfrm>
          <a:prstGeom prst="rect">
            <a:avLst/>
          </a:prstGeom>
          <a:noFill/>
        </p:spPr>
        <p:txBody>
          <a:bodyPr wrap="square" rtlCol="0">
            <a:spAutoFit/>
          </a:bodyPr>
          <a:lstStyle/>
          <a:p>
            <a:r>
              <a:rPr lang="en-GB" dirty="0"/>
              <a:t>Source: </a:t>
            </a:r>
            <a:r>
              <a:rPr lang="en-GB" dirty="0" err="1"/>
              <a:t>Sketchplanations</a:t>
            </a:r>
            <a:r>
              <a:rPr lang="en-GB" dirty="0"/>
              <a:t> </a:t>
            </a:r>
            <a:r>
              <a:rPr lang="en-GB" dirty="0">
                <a:hlinkClick r:id="rId2"/>
              </a:rPr>
              <a:t>https://sketchplanations.com/the-ikea-effect</a:t>
            </a:r>
            <a:r>
              <a:rPr lang="en-GB" dirty="0"/>
              <a:t> </a:t>
            </a:r>
          </a:p>
        </p:txBody>
      </p:sp>
      <p:pic>
        <p:nvPicPr>
          <p:cNvPr id="6" name="Picture 5">
            <a:extLst>
              <a:ext uri="{FF2B5EF4-FFF2-40B4-BE49-F238E27FC236}">
                <a16:creationId xmlns:a16="http://schemas.microsoft.com/office/drawing/2014/main" id="{F0FAC4AF-1B48-4B24-9721-FAF3169BF84B}"/>
              </a:ext>
            </a:extLst>
          </p:cNvPr>
          <p:cNvPicPr>
            <a:picLocks noChangeAspect="1"/>
          </p:cNvPicPr>
          <p:nvPr/>
        </p:nvPicPr>
        <p:blipFill>
          <a:blip r:embed="rId3"/>
          <a:stretch>
            <a:fillRect/>
          </a:stretch>
        </p:blipFill>
        <p:spPr>
          <a:xfrm>
            <a:off x="2001837" y="162560"/>
            <a:ext cx="7896225" cy="6210300"/>
          </a:xfrm>
          <a:prstGeom prst="rect">
            <a:avLst/>
          </a:prstGeom>
        </p:spPr>
      </p:pic>
    </p:spTree>
    <p:extLst>
      <p:ext uri="{BB962C8B-B14F-4D97-AF65-F5344CB8AC3E}">
        <p14:creationId xmlns:p14="http://schemas.microsoft.com/office/powerpoint/2010/main" val="1322224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A3978C-BB08-450F-895E-C0B498CACBD2}"/>
              </a:ext>
            </a:extLst>
          </p:cNvPr>
          <p:cNvSpPr>
            <a:spLocks noGrp="1"/>
          </p:cNvSpPr>
          <p:nvPr>
            <p:ph idx="1"/>
          </p:nvPr>
        </p:nvSpPr>
        <p:spPr>
          <a:xfrm>
            <a:off x="129670" y="1539437"/>
            <a:ext cx="10515600" cy="4351338"/>
          </a:xfrm>
        </p:spPr>
        <p:txBody>
          <a:bodyPr>
            <a:noAutofit/>
          </a:bodyPr>
          <a:lstStyle/>
          <a:p>
            <a:pPr marL="514350" indent="-514350" algn="just" fontAlgn="base">
              <a:buFont typeface="+mj-lt"/>
              <a:buAutoNum type="arabicPeriod"/>
            </a:pPr>
            <a:r>
              <a:rPr lang="en-GB" sz="2600" b="0" dirty="0">
                <a:solidFill>
                  <a:srgbClr val="2B2B2B"/>
                </a:solidFill>
                <a:effectLst/>
              </a:rPr>
              <a:t>People support what they create</a:t>
            </a:r>
          </a:p>
          <a:p>
            <a:pPr marL="514350" indent="-514350" algn="just" fontAlgn="base">
              <a:buFont typeface="+mj-lt"/>
              <a:buAutoNum type="arabicPeriod"/>
            </a:pPr>
            <a:r>
              <a:rPr lang="en-GB" sz="2600" b="0" dirty="0">
                <a:solidFill>
                  <a:srgbClr val="2B2B2B"/>
                </a:solidFill>
                <a:effectLst/>
              </a:rPr>
              <a:t>People act responsibly when they care</a:t>
            </a:r>
          </a:p>
          <a:p>
            <a:pPr marL="514350" indent="-514350" algn="just" fontAlgn="base">
              <a:buFont typeface="+mj-lt"/>
              <a:buAutoNum type="arabicPeriod"/>
            </a:pPr>
            <a:r>
              <a:rPr lang="en-GB" sz="2600" b="0" dirty="0">
                <a:solidFill>
                  <a:srgbClr val="2B2B2B"/>
                </a:solidFill>
                <a:effectLst/>
              </a:rPr>
              <a:t>Conversation is the way human beings have always thought</a:t>
            </a:r>
          </a:p>
          <a:p>
            <a:pPr marL="514350" indent="-514350" algn="just" fontAlgn="base">
              <a:buFont typeface="+mj-lt"/>
              <a:buAutoNum type="arabicPeriod"/>
            </a:pPr>
            <a:r>
              <a:rPr lang="en-GB" sz="2600" b="0" dirty="0">
                <a:solidFill>
                  <a:srgbClr val="2B2B2B"/>
                </a:solidFill>
                <a:effectLst/>
              </a:rPr>
              <a:t>To change the conversation, change who is in it</a:t>
            </a:r>
          </a:p>
          <a:p>
            <a:pPr marL="514350" indent="-514350" algn="just" fontAlgn="base">
              <a:buFont typeface="+mj-lt"/>
              <a:buAutoNum type="arabicPeriod"/>
            </a:pPr>
            <a:r>
              <a:rPr lang="en-GB" sz="2600" b="0" dirty="0">
                <a:solidFill>
                  <a:srgbClr val="2B2B2B"/>
                </a:solidFill>
                <a:effectLst/>
              </a:rPr>
              <a:t>Expect leaders to come from anywhere</a:t>
            </a:r>
          </a:p>
          <a:p>
            <a:pPr marL="514350" indent="-514350" algn="just" fontAlgn="base">
              <a:buFont typeface="+mj-lt"/>
              <a:buAutoNum type="arabicPeriod"/>
            </a:pPr>
            <a:r>
              <a:rPr lang="en-GB" sz="2600" b="0" dirty="0">
                <a:solidFill>
                  <a:srgbClr val="2B2B2B"/>
                </a:solidFill>
                <a:effectLst/>
              </a:rPr>
              <a:t>Focusing on what is working gives us energy and creativity</a:t>
            </a:r>
          </a:p>
          <a:p>
            <a:pPr marL="514350" indent="-514350" algn="just" fontAlgn="base">
              <a:buFont typeface="+mj-lt"/>
              <a:buAutoNum type="arabicPeriod"/>
            </a:pPr>
            <a:r>
              <a:rPr lang="en-GB" sz="2600" b="0" dirty="0">
                <a:solidFill>
                  <a:srgbClr val="2B2B2B"/>
                </a:solidFill>
                <a:effectLst/>
              </a:rPr>
              <a:t>The wisdom resides within us</a:t>
            </a:r>
          </a:p>
          <a:p>
            <a:pPr marL="514350" indent="-514350" algn="just" fontAlgn="base">
              <a:buFont typeface="+mj-lt"/>
              <a:buAutoNum type="arabicPeriod"/>
            </a:pPr>
            <a:r>
              <a:rPr lang="en-GB" sz="2600" b="0" dirty="0">
                <a:solidFill>
                  <a:srgbClr val="2B2B2B"/>
                </a:solidFill>
                <a:effectLst/>
              </a:rPr>
              <a:t>Everything is a failure in the middle</a:t>
            </a:r>
          </a:p>
          <a:p>
            <a:pPr marL="514350" indent="-514350" algn="just" fontAlgn="base">
              <a:buFont typeface="+mj-lt"/>
              <a:buAutoNum type="arabicPeriod"/>
            </a:pPr>
            <a:r>
              <a:rPr lang="en-GB" sz="2600" b="0" dirty="0">
                <a:solidFill>
                  <a:srgbClr val="2B2B2B"/>
                </a:solidFill>
                <a:effectLst/>
              </a:rPr>
              <a:t>Humans can handle anything as long as we’re together</a:t>
            </a:r>
          </a:p>
          <a:p>
            <a:pPr marL="514350" indent="-514350" algn="just" fontAlgn="base">
              <a:buFont typeface="+mj-lt"/>
              <a:buAutoNum type="arabicPeriod"/>
            </a:pPr>
            <a:r>
              <a:rPr lang="en-GB" sz="2600" b="0" dirty="0">
                <a:solidFill>
                  <a:srgbClr val="2B2B2B"/>
                </a:solidFill>
                <a:effectLst/>
              </a:rPr>
              <a:t>Generosity, forgiveness and love: these are the most important elements                                            in a community</a:t>
            </a:r>
            <a:endParaRPr lang="en-GB" sz="2600" dirty="0"/>
          </a:p>
        </p:txBody>
      </p:sp>
      <p:sp>
        <p:nvSpPr>
          <p:cNvPr id="5" name="TextBox 4">
            <a:extLst>
              <a:ext uri="{FF2B5EF4-FFF2-40B4-BE49-F238E27FC236}">
                <a16:creationId xmlns:a16="http://schemas.microsoft.com/office/drawing/2014/main" id="{6A5ECE34-BD8E-496D-91A6-D4D06B5FBDA3}"/>
              </a:ext>
            </a:extLst>
          </p:cNvPr>
          <p:cNvSpPr txBox="1"/>
          <p:nvPr/>
        </p:nvSpPr>
        <p:spPr>
          <a:xfrm>
            <a:off x="8111404" y="4419099"/>
            <a:ext cx="3918537" cy="132343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https://medium.com/together-institute/10-principles-for-healthy-communities-by-meg-wheatley-6466fe1d070d</a:t>
            </a: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6" name="TextBox 5">
            <a:extLst>
              <a:ext uri="{FF2B5EF4-FFF2-40B4-BE49-F238E27FC236}">
                <a16:creationId xmlns:a16="http://schemas.microsoft.com/office/drawing/2014/main" id="{FE8EF08A-A8F0-42B8-8DA1-4E679BF18EBA}"/>
              </a:ext>
            </a:extLst>
          </p:cNvPr>
          <p:cNvSpPr txBox="1"/>
          <p:nvPr/>
        </p:nvSpPr>
        <p:spPr>
          <a:xfrm>
            <a:off x="8166882" y="6409683"/>
            <a:ext cx="4418142" cy="276997"/>
          </a:xfrm>
          <a:prstGeom prst="rect">
            <a:avLst/>
          </a:prstGeom>
          <a:noFill/>
          <a:ln>
            <a:noFill/>
          </a:ln>
        </p:spPr>
        <p:txBody>
          <a:bodyPr vert="horz" wrap="square" lIns="91438" tIns="45719" rIns="91438" bIns="45719" anchor="t" anchorCtr="0" compatLnSpc="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200" b="1" i="0" u="none" strike="noStrike" kern="0" cap="none" spc="0" normalizeH="0" baseline="0" noProof="0" dirty="0">
                <a:ln>
                  <a:noFill/>
                </a:ln>
                <a:solidFill>
                  <a:srgbClr val="147588"/>
                </a:solidFill>
                <a:effectLst/>
                <a:uLnTx/>
                <a:uFillTx/>
                <a:latin typeface="Calibri" panose="020F0502020204030204"/>
                <a:ea typeface="+mn-ea"/>
                <a:cs typeface="+mn-cs"/>
              </a:rPr>
              <a:t>@HelenBevanTweet a year of Twitter slides 2021 May 2</a:t>
            </a:r>
            <a:r>
              <a:rPr kumimoji="0" lang="en-GB" sz="1200" b="1" i="0" u="none" strike="noStrike" kern="0" cap="none" spc="0" normalizeH="0" baseline="30000" noProof="0" dirty="0">
                <a:ln>
                  <a:noFill/>
                </a:ln>
                <a:solidFill>
                  <a:srgbClr val="147588"/>
                </a:solidFill>
                <a:effectLst/>
                <a:uLnTx/>
                <a:uFillTx/>
                <a:latin typeface="Calibri" panose="020F0502020204030204"/>
                <a:ea typeface="+mn-ea"/>
                <a:cs typeface="+mn-cs"/>
              </a:rPr>
              <a:t>nd</a:t>
            </a:r>
            <a:r>
              <a:rPr kumimoji="0" lang="en-GB" sz="1200" b="1" i="0" u="none" strike="noStrike" kern="0" cap="none" spc="0" normalizeH="0" baseline="0" noProof="0" dirty="0">
                <a:ln>
                  <a:noFill/>
                </a:ln>
                <a:solidFill>
                  <a:srgbClr val="147588"/>
                </a:solidFill>
                <a:effectLst/>
                <a:uLnTx/>
                <a:uFillTx/>
                <a:latin typeface="Calibri" panose="020F0502020204030204"/>
                <a:ea typeface="+mn-ea"/>
                <a:cs typeface="+mn-cs"/>
              </a:rPr>
              <a:t> </a:t>
            </a:r>
          </a:p>
        </p:txBody>
      </p:sp>
      <p:pic>
        <p:nvPicPr>
          <p:cNvPr id="1026" name="Picture 2" descr="Make WordPress Communities – Building Local Communities">
            <a:extLst>
              <a:ext uri="{FF2B5EF4-FFF2-40B4-BE49-F238E27FC236}">
                <a16:creationId xmlns:a16="http://schemas.microsoft.com/office/drawing/2014/main" id="{A97D7939-7D58-48F3-9F1C-6808B4937F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17654" y="309818"/>
            <a:ext cx="3288576" cy="3656322"/>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p14="http://schemas.microsoft.com/office/powerpoint/2010/main">
        <mc:Choice Requires="p14">
          <p:contentPart p14:bwMode="auto" r:id="rId4">
            <p14:nvContentPartPr>
              <p14:cNvPr id="7" name="Ink 6">
                <a:extLst>
                  <a:ext uri="{FF2B5EF4-FFF2-40B4-BE49-F238E27FC236}">
                    <a16:creationId xmlns:a16="http://schemas.microsoft.com/office/drawing/2014/main" id="{DECF2DB6-6C41-4C37-834B-BFBDCD51533A}"/>
                  </a:ext>
                </a:extLst>
              </p14:cNvPr>
              <p14:cNvContentPartPr/>
              <p14:nvPr/>
            </p14:nvContentPartPr>
            <p14:xfrm>
              <a:off x="10631193" y="1110344"/>
              <a:ext cx="365040" cy="587520"/>
            </p14:xfrm>
          </p:contentPart>
        </mc:Choice>
        <mc:Fallback xmlns="">
          <p:pic>
            <p:nvPicPr>
              <p:cNvPr id="7" name="Ink 6">
                <a:extLst>
                  <a:ext uri="{FF2B5EF4-FFF2-40B4-BE49-F238E27FC236}">
                    <a16:creationId xmlns:a16="http://schemas.microsoft.com/office/drawing/2014/main" id="{DECF2DB6-6C41-4C37-834B-BFBDCD51533A}"/>
                  </a:ext>
                </a:extLst>
              </p:cNvPr>
              <p:cNvPicPr/>
              <p:nvPr/>
            </p:nvPicPr>
            <p:blipFill>
              <a:blip r:embed="rId5"/>
              <a:stretch>
                <a:fillRect/>
              </a:stretch>
            </p:blipFill>
            <p:spPr>
              <a:xfrm>
                <a:off x="10613553" y="1074704"/>
                <a:ext cx="400680" cy="6591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9" name="Ink 8">
                <a:extLst>
                  <a:ext uri="{FF2B5EF4-FFF2-40B4-BE49-F238E27FC236}">
                    <a16:creationId xmlns:a16="http://schemas.microsoft.com/office/drawing/2014/main" id="{A4A8D013-B517-48F2-A4CC-CBFF45D931E8}"/>
                  </a:ext>
                </a:extLst>
              </p14:cNvPr>
              <p14:cNvContentPartPr/>
              <p14:nvPr/>
            </p14:nvContentPartPr>
            <p14:xfrm>
              <a:off x="10589073" y="582584"/>
              <a:ext cx="300600" cy="409320"/>
            </p14:xfrm>
          </p:contentPart>
        </mc:Choice>
        <mc:Fallback xmlns="">
          <p:pic>
            <p:nvPicPr>
              <p:cNvPr id="9" name="Ink 8">
                <a:extLst>
                  <a:ext uri="{FF2B5EF4-FFF2-40B4-BE49-F238E27FC236}">
                    <a16:creationId xmlns:a16="http://schemas.microsoft.com/office/drawing/2014/main" id="{A4A8D013-B517-48F2-A4CC-CBFF45D931E8}"/>
                  </a:ext>
                </a:extLst>
              </p:cNvPr>
              <p:cNvPicPr/>
              <p:nvPr/>
            </p:nvPicPr>
            <p:blipFill>
              <a:blip r:embed="rId7"/>
              <a:stretch>
                <a:fillRect/>
              </a:stretch>
            </p:blipFill>
            <p:spPr>
              <a:xfrm>
                <a:off x="10571433" y="546584"/>
                <a:ext cx="336240" cy="48096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0" name="Ink 9">
                <a:extLst>
                  <a:ext uri="{FF2B5EF4-FFF2-40B4-BE49-F238E27FC236}">
                    <a16:creationId xmlns:a16="http://schemas.microsoft.com/office/drawing/2014/main" id="{F2DE8682-A1F7-4781-AD6F-1D854A787FA1}"/>
                  </a:ext>
                </a:extLst>
              </p14:cNvPr>
              <p14:cNvContentPartPr/>
              <p14:nvPr/>
            </p14:nvContentPartPr>
            <p14:xfrm>
              <a:off x="9737673" y="1142024"/>
              <a:ext cx="292320" cy="690480"/>
            </p14:xfrm>
          </p:contentPart>
        </mc:Choice>
        <mc:Fallback xmlns="">
          <p:pic>
            <p:nvPicPr>
              <p:cNvPr id="10" name="Ink 9">
                <a:extLst>
                  <a:ext uri="{FF2B5EF4-FFF2-40B4-BE49-F238E27FC236}">
                    <a16:creationId xmlns:a16="http://schemas.microsoft.com/office/drawing/2014/main" id="{F2DE8682-A1F7-4781-AD6F-1D854A787FA1}"/>
                  </a:ext>
                </a:extLst>
              </p:cNvPr>
              <p:cNvPicPr/>
              <p:nvPr/>
            </p:nvPicPr>
            <p:blipFill>
              <a:blip r:embed="rId9"/>
              <a:stretch>
                <a:fillRect/>
              </a:stretch>
            </p:blipFill>
            <p:spPr>
              <a:xfrm>
                <a:off x="9684033" y="1034384"/>
                <a:ext cx="399960" cy="90612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1" name="Ink 10">
                <a:extLst>
                  <a:ext uri="{FF2B5EF4-FFF2-40B4-BE49-F238E27FC236}">
                    <a16:creationId xmlns:a16="http://schemas.microsoft.com/office/drawing/2014/main" id="{FF28C440-3428-44B4-998C-42C12C939474}"/>
                  </a:ext>
                </a:extLst>
              </p14:cNvPr>
              <p14:cNvContentPartPr/>
              <p14:nvPr/>
            </p14:nvContentPartPr>
            <p14:xfrm>
              <a:off x="9822273" y="659624"/>
              <a:ext cx="226080" cy="278640"/>
            </p14:xfrm>
          </p:contentPart>
        </mc:Choice>
        <mc:Fallback xmlns="">
          <p:pic>
            <p:nvPicPr>
              <p:cNvPr id="11" name="Ink 10">
                <a:extLst>
                  <a:ext uri="{FF2B5EF4-FFF2-40B4-BE49-F238E27FC236}">
                    <a16:creationId xmlns:a16="http://schemas.microsoft.com/office/drawing/2014/main" id="{FF28C440-3428-44B4-998C-42C12C939474}"/>
                  </a:ext>
                </a:extLst>
              </p:cNvPr>
              <p:cNvPicPr/>
              <p:nvPr/>
            </p:nvPicPr>
            <p:blipFill>
              <a:blip r:embed="rId11"/>
              <a:stretch>
                <a:fillRect/>
              </a:stretch>
            </p:blipFill>
            <p:spPr>
              <a:xfrm>
                <a:off x="9768633" y="551984"/>
                <a:ext cx="333720" cy="49428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2" name="Ink 11">
                <a:extLst>
                  <a:ext uri="{FF2B5EF4-FFF2-40B4-BE49-F238E27FC236}">
                    <a16:creationId xmlns:a16="http://schemas.microsoft.com/office/drawing/2014/main" id="{6CD0006A-FDFA-4D54-9192-0169772A30BD}"/>
                  </a:ext>
                </a:extLst>
              </p14:cNvPr>
              <p14:cNvContentPartPr/>
              <p14:nvPr/>
            </p14:nvContentPartPr>
            <p14:xfrm>
              <a:off x="10056993" y="1081184"/>
              <a:ext cx="597600" cy="536040"/>
            </p14:xfrm>
          </p:contentPart>
        </mc:Choice>
        <mc:Fallback xmlns="">
          <p:pic>
            <p:nvPicPr>
              <p:cNvPr id="12" name="Ink 11">
                <a:extLst>
                  <a:ext uri="{FF2B5EF4-FFF2-40B4-BE49-F238E27FC236}">
                    <a16:creationId xmlns:a16="http://schemas.microsoft.com/office/drawing/2014/main" id="{6CD0006A-FDFA-4D54-9192-0169772A30BD}"/>
                  </a:ext>
                </a:extLst>
              </p:cNvPr>
              <p:cNvPicPr/>
              <p:nvPr/>
            </p:nvPicPr>
            <p:blipFill>
              <a:blip r:embed="rId13"/>
              <a:stretch>
                <a:fillRect/>
              </a:stretch>
            </p:blipFill>
            <p:spPr>
              <a:xfrm>
                <a:off x="10020993" y="1009544"/>
                <a:ext cx="669240" cy="67968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3" name="Ink 12">
                <a:extLst>
                  <a:ext uri="{FF2B5EF4-FFF2-40B4-BE49-F238E27FC236}">
                    <a16:creationId xmlns:a16="http://schemas.microsoft.com/office/drawing/2014/main" id="{923F2920-FA3D-4C84-8993-D8F99F1BB421}"/>
                  </a:ext>
                </a:extLst>
              </p14:cNvPr>
              <p14:cNvContentPartPr/>
              <p14:nvPr/>
            </p14:nvContentPartPr>
            <p14:xfrm>
              <a:off x="10191273" y="554864"/>
              <a:ext cx="300960" cy="366480"/>
            </p14:xfrm>
          </p:contentPart>
        </mc:Choice>
        <mc:Fallback xmlns="">
          <p:pic>
            <p:nvPicPr>
              <p:cNvPr id="13" name="Ink 12">
                <a:extLst>
                  <a:ext uri="{FF2B5EF4-FFF2-40B4-BE49-F238E27FC236}">
                    <a16:creationId xmlns:a16="http://schemas.microsoft.com/office/drawing/2014/main" id="{923F2920-FA3D-4C84-8993-D8F99F1BB421}"/>
                  </a:ext>
                </a:extLst>
              </p:cNvPr>
              <p:cNvPicPr/>
              <p:nvPr/>
            </p:nvPicPr>
            <p:blipFill>
              <a:blip r:embed="rId15"/>
              <a:stretch>
                <a:fillRect/>
              </a:stretch>
            </p:blipFill>
            <p:spPr>
              <a:xfrm>
                <a:off x="10155273" y="483224"/>
                <a:ext cx="372600" cy="51012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4" name="Ink 13">
                <a:extLst>
                  <a:ext uri="{FF2B5EF4-FFF2-40B4-BE49-F238E27FC236}">
                    <a16:creationId xmlns:a16="http://schemas.microsoft.com/office/drawing/2014/main" id="{28D3FF5D-DDB9-4329-BACF-931BA5736307}"/>
                  </a:ext>
                </a:extLst>
              </p14:cNvPr>
              <p14:cNvContentPartPr/>
              <p14:nvPr/>
            </p14:nvContentPartPr>
            <p14:xfrm>
              <a:off x="10070673" y="1535504"/>
              <a:ext cx="540000" cy="150480"/>
            </p14:xfrm>
          </p:contentPart>
        </mc:Choice>
        <mc:Fallback xmlns="">
          <p:pic>
            <p:nvPicPr>
              <p:cNvPr id="14" name="Ink 13">
                <a:extLst>
                  <a:ext uri="{FF2B5EF4-FFF2-40B4-BE49-F238E27FC236}">
                    <a16:creationId xmlns:a16="http://schemas.microsoft.com/office/drawing/2014/main" id="{28D3FF5D-DDB9-4329-BACF-931BA5736307}"/>
                  </a:ext>
                </a:extLst>
              </p:cNvPr>
              <p:cNvPicPr/>
              <p:nvPr/>
            </p:nvPicPr>
            <p:blipFill>
              <a:blip r:embed="rId17"/>
              <a:stretch>
                <a:fillRect/>
              </a:stretch>
            </p:blipFill>
            <p:spPr>
              <a:xfrm>
                <a:off x="10053033" y="1499864"/>
                <a:ext cx="575640" cy="22212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5" name="Ink 14">
                <a:extLst>
                  <a:ext uri="{FF2B5EF4-FFF2-40B4-BE49-F238E27FC236}">
                    <a16:creationId xmlns:a16="http://schemas.microsoft.com/office/drawing/2014/main" id="{9ED2DE9B-CC6E-4620-AB6A-61B67B1EA3EF}"/>
                  </a:ext>
                </a:extLst>
              </p14:cNvPr>
              <p14:cNvContentPartPr/>
              <p14:nvPr/>
            </p14:nvContentPartPr>
            <p14:xfrm>
              <a:off x="10203513" y="841064"/>
              <a:ext cx="172440" cy="125640"/>
            </p14:xfrm>
          </p:contentPart>
        </mc:Choice>
        <mc:Fallback xmlns="">
          <p:pic>
            <p:nvPicPr>
              <p:cNvPr id="15" name="Ink 14">
                <a:extLst>
                  <a:ext uri="{FF2B5EF4-FFF2-40B4-BE49-F238E27FC236}">
                    <a16:creationId xmlns:a16="http://schemas.microsoft.com/office/drawing/2014/main" id="{9ED2DE9B-CC6E-4620-AB6A-61B67B1EA3EF}"/>
                  </a:ext>
                </a:extLst>
              </p:cNvPr>
              <p:cNvPicPr/>
              <p:nvPr/>
            </p:nvPicPr>
            <p:blipFill>
              <a:blip r:embed="rId19"/>
              <a:stretch>
                <a:fillRect/>
              </a:stretch>
            </p:blipFill>
            <p:spPr>
              <a:xfrm>
                <a:off x="10185873" y="805424"/>
                <a:ext cx="208080" cy="19728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6" name="Ink 15">
                <a:extLst>
                  <a:ext uri="{FF2B5EF4-FFF2-40B4-BE49-F238E27FC236}">
                    <a16:creationId xmlns:a16="http://schemas.microsoft.com/office/drawing/2014/main" id="{576B5ACA-9C0E-4F6A-B6C4-ECD842E829F3}"/>
                  </a:ext>
                </a:extLst>
              </p14:cNvPr>
              <p14:cNvContentPartPr/>
              <p14:nvPr/>
            </p14:nvContentPartPr>
            <p14:xfrm>
              <a:off x="10215033" y="549464"/>
              <a:ext cx="360" cy="360"/>
            </p14:xfrm>
          </p:contentPart>
        </mc:Choice>
        <mc:Fallback xmlns="">
          <p:pic>
            <p:nvPicPr>
              <p:cNvPr id="16" name="Ink 15">
                <a:extLst>
                  <a:ext uri="{FF2B5EF4-FFF2-40B4-BE49-F238E27FC236}">
                    <a16:creationId xmlns:a16="http://schemas.microsoft.com/office/drawing/2014/main" id="{576B5ACA-9C0E-4F6A-B6C4-ECD842E829F3}"/>
                  </a:ext>
                </a:extLst>
              </p:cNvPr>
              <p:cNvPicPr/>
              <p:nvPr/>
            </p:nvPicPr>
            <p:blipFill>
              <a:blip r:embed="rId21"/>
              <a:stretch>
                <a:fillRect/>
              </a:stretch>
            </p:blipFill>
            <p:spPr>
              <a:xfrm>
                <a:off x="10197033" y="513464"/>
                <a:ext cx="36000" cy="72000"/>
              </a:xfrm>
              <a:prstGeom prst="rect">
                <a:avLst/>
              </a:prstGeom>
            </p:spPr>
          </p:pic>
        </mc:Fallback>
      </mc:AlternateContent>
      <p:sp>
        <p:nvSpPr>
          <p:cNvPr id="4" name="TextBox 3">
            <a:extLst>
              <a:ext uri="{FF2B5EF4-FFF2-40B4-BE49-F238E27FC236}">
                <a16:creationId xmlns:a16="http://schemas.microsoft.com/office/drawing/2014/main" id="{85A598AA-8B59-4732-BFDA-BB1E2B3CDEAF}"/>
              </a:ext>
            </a:extLst>
          </p:cNvPr>
          <p:cNvSpPr txBox="1"/>
          <p:nvPr/>
        </p:nvSpPr>
        <p:spPr>
          <a:xfrm>
            <a:off x="9147758" y="4055420"/>
            <a:ext cx="285847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Source of graphic: adapted from WordPress</a:t>
            </a:r>
          </a:p>
        </p:txBody>
      </p:sp>
      <p:sp>
        <p:nvSpPr>
          <p:cNvPr id="2" name="Title 1">
            <a:extLst>
              <a:ext uri="{FF2B5EF4-FFF2-40B4-BE49-F238E27FC236}">
                <a16:creationId xmlns:a16="http://schemas.microsoft.com/office/drawing/2014/main" id="{2430B1A3-593C-464E-8D7E-77438C389292}"/>
              </a:ext>
            </a:extLst>
          </p:cNvPr>
          <p:cNvSpPr>
            <a:spLocks noGrp="1"/>
          </p:cNvSpPr>
          <p:nvPr>
            <p:ph type="title"/>
          </p:nvPr>
        </p:nvSpPr>
        <p:spPr>
          <a:xfrm>
            <a:off x="185770" y="55818"/>
            <a:ext cx="12006230" cy="1325563"/>
          </a:xfrm>
        </p:spPr>
        <p:txBody>
          <a:bodyPr>
            <a:normAutofit/>
          </a:bodyPr>
          <a:lstStyle/>
          <a:p>
            <a:r>
              <a:rPr lang="en-GB" sz="3400" b="1" dirty="0">
                <a:solidFill>
                  <a:schemeClr val="accent1"/>
                </a:solidFill>
                <a:latin typeface="+mn-lt"/>
              </a:rPr>
              <a:t>Ten principles for building a healthy community </a:t>
            </a:r>
            <a:br>
              <a:rPr lang="en-GB" sz="3400" b="1" dirty="0">
                <a:solidFill>
                  <a:schemeClr val="accent1"/>
                </a:solidFill>
                <a:latin typeface="+mn-lt"/>
              </a:rPr>
            </a:br>
            <a:r>
              <a:rPr lang="en-GB" sz="3400" b="1" dirty="0">
                <a:solidFill>
                  <a:schemeClr val="accent1"/>
                </a:solidFill>
                <a:latin typeface="+mn-lt"/>
              </a:rPr>
              <a:t>by Margaret Wheatley</a:t>
            </a:r>
          </a:p>
        </p:txBody>
      </p:sp>
    </p:spTree>
    <p:extLst>
      <p:ext uri="{BB962C8B-B14F-4D97-AF65-F5344CB8AC3E}">
        <p14:creationId xmlns:p14="http://schemas.microsoft.com/office/powerpoint/2010/main" val="21666725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Image">
            <a:extLst>
              <a:ext uri="{FF2B5EF4-FFF2-40B4-BE49-F238E27FC236}">
                <a16:creationId xmlns:a16="http://schemas.microsoft.com/office/drawing/2014/main" id="{D00CF75A-A781-4BB1-A63A-17BE1B18E32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53000" y="0"/>
            <a:ext cx="7239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FA897A1B-2269-4756-93AE-B6E6A6B096CE}"/>
              </a:ext>
            </a:extLst>
          </p:cNvPr>
          <p:cNvSpPr txBox="1"/>
          <p:nvPr/>
        </p:nvSpPr>
        <p:spPr>
          <a:xfrm>
            <a:off x="384175" y="1044575"/>
            <a:ext cx="4038600"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srgbClr val="4A3CCC"/>
                </a:solidFill>
                <a:effectLst/>
                <a:uLnTx/>
                <a:uFillTx/>
                <a:latin typeface="Calibri" panose="020F0502020204030204"/>
                <a:ea typeface="+mn-ea"/>
                <a:cs typeface="+mn-cs"/>
              </a:rPr>
              <a:t>We need to shift from “expert” to “explorer”</a:t>
            </a:r>
          </a:p>
        </p:txBody>
      </p:sp>
      <p:sp>
        <p:nvSpPr>
          <p:cNvPr id="2" name="Rectangle 1">
            <a:extLst>
              <a:ext uri="{FF2B5EF4-FFF2-40B4-BE49-F238E27FC236}">
                <a16:creationId xmlns:a16="http://schemas.microsoft.com/office/drawing/2014/main" id="{C35DDF3E-7653-4599-9EB6-3B07F8B8F5FD}"/>
              </a:ext>
            </a:extLst>
          </p:cNvPr>
          <p:cNvSpPr/>
          <p:nvPr/>
        </p:nvSpPr>
        <p:spPr>
          <a:xfrm>
            <a:off x="6505575" y="4516497"/>
            <a:ext cx="4514850" cy="712728"/>
          </a:xfrm>
          <a:prstGeom prst="rect">
            <a:avLst/>
          </a:prstGeom>
          <a:solidFill>
            <a:srgbClr val="FFFB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7CE18ED7-E6A1-4F59-A806-7CD7DE288246}"/>
              </a:ext>
            </a:extLst>
          </p:cNvPr>
          <p:cNvSpPr txBox="1"/>
          <p:nvPr/>
        </p:nvSpPr>
        <p:spPr>
          <a:xfrm flipH="1">
            <a:off x="550542" y="3916332"/>
            <a:ext cx="4514849" cy="3046988"/>
          </a:xfrm>
          <a:prstGeom prst="rect">
            <a:avLst/>
          </a:prstGeom>
          <a:noFill/>
        </p:spPr>
        <p:txBody>
          <a:bodyPr wrap="square" rtlCol="0">
            <a:spAutoFit/>
          </a:bodyPr>
          <a:lstStyle/>
          <a:p>
            <a:r>
              <a:rPr lang="en-GB" sz="3200" i="1" dirty="0" err="1"/>
              <a:t>Ako</a:t>
            </a:r>
            <a:r>
              <a:rPr lang="en-GB" sz="3200" dirty="0"/>
              <a:t>: we both teach and learn</a:t>
            </a:r>
          </a:p>
          <a:p>
            <a:endParaRPr lang="en-GB" sz="3200" dirty="0"/>
          </a:p>
          <a:p>
            <a:r>
              <a:rPr lang="en-GB" sz="3200" i="1" dirty="0">
                <a:solidFill>
                  <a:srgbClr val="102B26"/>
                </a:solidFill>
                <a:effectLst/>
                <a:latin typeface="Sharp Sans"/>
              </a:rPr>
              <a:t>Wānanga</a:t>
            </a:r>
            <a:r>
              <a:rPr lang="en-GB" sz="3200" i="0" dirty="0">
                <a:solidFill>
                  <a:srgbClr val="102B26"/>
                </a:solidFill>
                <a:effectLst/>
                <a:latin typeface="Sharp Sans"/>
              </a:rPr>
              <a:t>: learning together</a:t>
            </a:r>
          </a:p>
          <a:p>
            <a:r>
              <a:rPr lang="en-GB" sz="3200" dirty="0"/>
              <a:t> </a:t>
            </a:r>
          </a:p>
        </p:txBody>
      </p:sp>
    </p:spTree>
    <p:extLst>
      <p:ext uri="{BB962C8B-B14F-4D97-AF65-F5344CB8AC3E}">
        <p14:creationId xmlns:p14="http://schemas.microsoft.com/office/powerpoint/2010/main" val="19542783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60" y="43406"/>
            <a:ext cx="11777454" cy="1143000"/>
          </a:xfrm>
        </p:spPr>
        <p:txBody>
          <a:bodyPr>
            <a:noAutofit/>
          </a:bodyPr>
          <a:lstStyle/>
          <a:p>
            <a:r>
              <a:rPr lang="en-GB" sz="3600" b="1" dirty="0">
                <a:solidFill>
                  <a:schemeClr val="accent1"/>
                </a:solidFill>
                <a:latin typeface="+mn-lt"/>
              </a:rPr>
              <a:t>How do we shift our thinking from forecasting to foresight?</a:t>
            </a:r>
          </a:p>
        </p:txBody>
      </p:sp>
      <p:sp>
        <p:nvSpPr>
          <p:cNvPr id="3" name="Text Placeholder 2"/>
          <p:cNvSpPr>
            <a:spLocks noGrp="1"/>
          </p:cNvSpPr>
          <p:nvPr>
            <p:ph type="body" idx="1"/>
          </p:nvPr>
        </p:nvSpPr>
        <p:spPr>
          <a:xfrm>
            <a:off x="618749" y="1479914"/>
            <a:ext cx="3240361" cy="639762"/>
          </a:xfrm>
        </p:spPr>
        <p:txBody>
          <a:bodyPr>
            <a:noAutofit/>
          </a:bodyPr>
          <a:lstStyle/>
          <a:p>
            <a:pPr algn="ctr"/>
            <a:r>
              <a:rPr lang="en-GB" sz="3600" dirty="0"/>
              <a:t>FORECASTING</a:t>
            </a:r>
          </a:p>
        </p:txBody>
      </p:sp>
      <p:sp>
        <p:nvSpPr>
          <p:cNvPr id="4" name="Content Placeholder 3"/>
          <p:cNvSpPr>
            <a:spLocks noGrp="1"/>
          </p:cNvSpPr>
          <p:nvPr>
            <p:ph sz="half" idx="2"/>
          </p:nvPr>
        </p:nvSpPr>
        <p:spPr>
          <a:xfrm>
            <a:off x="47560" y="1787741"/>
            <a:ext cx="4843603" cy="3951288"/>
          </a:xfrm>
        </p:spPr>
        <p:txBody>
          <a:bodyPr>
            <a:noAutofit/>
          </a:bodyPr>
          <a:lstStyle/>
          <a:p>
            <a:pPr marL="0" indent="0" algn="ctr">
              <a:buNone/>
            </a:pPr>
            <a:endParaRPr lang="en-GB" sz="2600" dirty="0"/>
          </a:p>
          <a:p>
            <a:pPr marL="0" indent="0" algn="ctr">
              <a:buNone/>
            </a:pPr>
            <a:r>
              <a:rPr lang="en-GB" sz="2800" dirty="0"/>
              <a:t>Focus on expected future </a:t>
            </a:r>
          </a:p>
          <a:p>
            <a:pPr marL="0" indent="0" algn="ctr">
              <a:buNone/>
            </a:pPr>
            <a:endParaRPr lang="en-GB" sz="2800" dirty="0"/>
          </a:p>
          <a:p>
            <a:pPr marL="0" indent="0" algn="ctr">
              <a:buNone/>
            </a:pPr>
            <a:r>
              <a:rPr lang="en-GB" sz="2800" dirty="0"/>
              <a:t>Identifying a future which is an extension of the present </a:t>
            </a:r>
          </a:p>
          <a:p>
            <a:pPr marL="0" indent="0" algn="ctr">
              <a:buNone/>
            </a:pPr>
            <a:endParaRPr lang="en-GB" sz="2800" dirty="0"/>
          </a:p>
          <a:p>
            <a:pPr marL="0" indent="0" algn="ctr">
              <a:buNone/>
            </a:pPr>
            <a:r>
              <a:rPr lang="en-GB" sz="2800" dirty="0"/>
              <a:t>Estimates what will happen, assuming that past trends will continue to be solid indicators of future happenings</a:t>
            </a:r>
            <a:r>
              <a:rPr lang="en-GB" sz="2600" dirty="0"/>
              <a:t>	</a:t>
            </a:r>
          </a:p>
        </p:txBody>
      </p:sp>
      <p:sp>
        <p:nvSpPr>
          <p:cNvPr id="6" name="Content Placeholder 5"/>
          <p:cNvSpPr>
            <a:spLocks noGrp="1"/>
          </p:cNvSpPr>
          <p:nvPr>
            <p:ph sz="quarter" idx="4"/>
          </p:nvPr>
        </p:nvSpPr>
        <p:spPr>
          <a:xfrm>
            <a:off x="5918955" y="1741586"/>
            <a:ext cx="5654296" cy="2917640"/>
          </a:xfrm>
        </p:spPr>
        <p:txBody>
          <a:bodyPr>
            <a:noAutofit/>
          </a:bodyPr>
          <a:lstStyle/>
          <a:p>
            <a:pPr marL="0" indent="0" algn="ctr">
              <a:buNone/>
            </a:pPr>
            <a:endParaRPr lang="en-GB" sz="2800" dirty="0"/>
          </a:p>
          <a:p>
            <a:pPr marL="0" indent="0" algn="ctr">
              <a:buNone/>
            </a:pPr>
            <a:r>
              <a:rPr lang="en-GB" sz="2800" dirty="0"/>
              <a:t>Focus on a range of potential futures</a:t>
            </a:r>
          </a:p>
          <a:p>
            <a:pPr marL="0" indent="0" algn="ctr">
              <a:buNone/>
            </a:pPr>
            <a:endParaRPr lang="en-GB" sz="2800" dirty="0"/>
          </a:p>
          <a:p>
            <a:pPr marL="0" indent="0" algn="ctr">
              <a:buNone/>
            </a:pPr>
            <a:r>
              <a:rPr lang="en-GB" sz="2800" dirty="0"/>
              <a:t>Searching for signs of potential future disruptions at the margins of the current system (“weak signals”)</a:t>
            </a:r>
          </a:p>
          <a:p>
            <a:pPr marL="0" indent="0" algn="ctr">
              <a:buNone/>
            </a:pPr>
            <a:r>
              <a:rPr lang="en-GB" sz="2800" dirty="0"/>
              <a:t>	</a:t>
            </a:r>
          </a:p>
        </p:txBody>
      </p:sp>
      <p:sp>
        <p:nvSpPr>
          <p:cNvPr id="7" name="Text Placeholder 6"/>
          <p:cNvSpPr>
            <a:spLocks noGrp="1"/>
          </p:cNvSpPr>
          <p:nvPr>
            <p:ph type="body" sz="quarter" idx="3"/>
          </p:nvPr>
        </p:nvSpPr>
        <p:spPr>
          <a:xfrm>
            <a:off x="6312530" y="1421705"/>
            <a:ext cx="4041775" cy="639762"/>
          </a:xfrm>
        </p:spPr>
        <p:txBody>
          <a:bodyPr>
            <a:noAutofit/>
          </a:bodyPr>
          <a:lstStyle/>
          <a:p>
            <a:pPr algn="ctr"/>
            <a:r>
              <a:rPr lang="en-GB" sz="3600" dirty="0"/>
              <a:t>	</a:t>
            </a:r>
            <a:r>
              <a:rPr lang="en-GB" sz="3600" dirty="0">
                <a:solidFill>
                  <a:srgbClr val="00B050"/>
                </a:solidFill>
              </a:rPr>
              <a:t>FORESIGHT </a:t>
            </a:r>
          </a:p>
        </p:txBody>
      </p:sp>
      <p:pic>
        <p:nvPicPr>
          <p:cNvPr id="1027" name="Picture 3" descr="C:\Users\dezlalourv\AppData\Local\Microsoft\Windows\Temporary Internet Files\Content.IE5\IURB1L59\arrows-147750_960_720[1].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81179" y="3430955"/>
            <a:ext cx="864601" cy="836711"/>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81178" y="2348881"/>
            <a:ext cx="965700" cy="7400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37163" y="4797152"/>
            <a:ext cx="1109716" cy="8640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a:extLst>
              <a:ext uri="{FF2B5EF4-FFF2-40B4-BE49-F238E27FC236}">
                <a16:creationId xmlns:a16="http://schemas.microsoft.com/office/drawing/2014/main" id="{04056B12-00A5-4ACC-98F3-8A604857C390}"/>
              </a:ext>
            </a:extLst>
          </p:cNvPr>
          <p:cNvSpPr/>
          <p:nvPr/>
        </p:nvSpPr>
        <p:spPr>
          <a:xfrm>
            <a:off x="5842755" y="4659226"/>
            <a:ext cx="6225485" cy="181588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rPr>
              <a:t>Expands our thinking about what is possible, helps us determine how we choose to prepare for and shape the future</a:t>
            </a:r>
          </a:p>
        </p:txBody>
      </p:sp>
    </p:spTree>
    <p:extLst>
      <p:ext uri="{BB962C8B-B14F-4D97-AF65-F5344CB8AC3E}">
        <p14:creationId xmlns:p14="http://schemas.microsoft.com/office/powerpoint/2010/main" val="25102097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551A2E-0B43-45C0-8258-6A8F874DBD0C}"/>
              </a:ext>
            </a:extLst>
          </p:cNvPr>
          <p:cNvSpPr>
            <a:spLocks noGrp="1"/>
          </p:cNvSpPr>
          <p:nvPr>
            <p:ph type="title"/>
          </p:nvPr>
        </p:nvSpPr>
        <p:spPr>
          <a:xfrm>
            <a:off x="131362" y="18255"/>
            <a:ext cx="11817545" cy="1325563"/>
          </a:xfrm>
        </p:spPr>
        <p:txBody>
          <a:bodyPr/>
          <a:lstStyle/>
          <a:p>
            <a:r>
              <a:rPr lang="en-GB" dirty="0"/>
              <a:t>Nine principles of deliberative engagement</a:t>
            </a:r>
          </a:p>
        </p:txBody>
      </p:sp>
      <p:sp>
        <p:nvSpPr>
          <p:cNvPr id="3" name="Content Placeholder 2">
            <a:extLst>
              <a:ext uri="{FF2B5EF4-FFF2-40B4-BE49-F238E27FC236}">
                <a16:creationId xmlns:a16="http://schemas.microsoft.com/office/drawing/2014/main" id="{588E96EF-8462-41A7-B137-74A8D956A642}"/>
              </a:ext>
            </a:extLst>
          </p:cNvPr>
          <p:cNvSpPr>
            <a:spLocks noGrp="1"/>
          </p:cNvSpPr>
          <p:nvPr>
            <p:ph idx="1"/>
          </p:nvPr>
        </p:nvSpPr>
        <p:spPr>
          <a:xfrm>
            <a:off x="310878" y="1147473"/>
            <a:ext cx="10515600" cy="5326253"/>
          </a:xfrm>
        </p:spPr>
        <p:txBody>
          <a:bodyPr>
            <a:normAutofit/>
          </a:bodyPr>
          <a:lstStyle/>
          <a:p>
            <a:pPr marL="342900" lvl="0" indent="-342900">
              <a:lnSpc>
                <a:spcPct val="107000"/>
              </a:lnSpc>
              <a:buFont typeface="+mj-lt"/>
              <a:buAutoNum type="arabicPeriod"/>
            </a:pPr>
            <a:r>
              <a:rPr lang="en-GB" sz="2400" dirty="0">
                <a:effectLst/>
                <a:latin typeface="Calibri" panose="020F0502020204030204" pitchFamily="34" charset="0"/>
                <a:ea typeface="Calibri" panose="020F0502020204030204" pitchFamily="34" charset="0"/>
                <a:cs typeface="Calibri" panose="020F0502020204030204" pitchFamily="34" charset="0"/>
              </a:rPr>
              <a:t>The process will make a difference</a:t>
            </a:r>
            <a:endParaRPr lang="en-GB" sz="24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GB" sz="2400" dirty="0">
                <a:effectLst/>
                <a:latin typeface="Calibri" panose="020F0502020204030204" pitchFamily="34" charset="0"/>
                <a:ea typeface="Calibri" panose="020F0502020204030204" pitchFamily="34" charset="0"/>
                <a:cs typeface="Calibri" panose="020F0502020204030204" pitchFamily="34" charset="0"/>
              </a:rPr>
              <a:t>The process will be transparent</a:t>
            </a:r>
            <a:endParaRPr lang="en-GB" sz="24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GB" sz="2400" dirty="0">
                <a:effectLst/>
                <a:latin typeface="Calibri" panose="020F0502020204030204" pitchFamily="34" charset="0"/>
                <a:ea typeface="Calibri" panose="020F0502020204030204" pitchFamily="34" charset="0"/>
                <a:cs typeface="Calibri" panose="020F0502020204030204" pitchFamily="34" charset="0"/>
              </a:rPr>
              <a:t>The process will have integrity</a:t>
            </a:r>
            <a:endParaRPr lang="en-GB" sz="24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GB" sz="2400" dirty="0">
                <a:effectLst/>
                <a:latin typeface="Calibri" panose="020F0502020204030204" pitchFamily="34" charset="0"/>
                <a:ea typeface="Calibri" panose="020F0502020204030204" pitchFamily="34" charset="0"/>
                <a:cs typeface="Calibri" panose="020F0502020204030204" pitchFamily="34" charset="0"/>
              </a:rPr>
              <a:t>The process will be tailored to the specific context</a:t>
            </a:r>
            <a:endParaRPr lang="en-GB" sz="24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GB" sz="2400" dirty="0">
                <a:effectLst/>
                <a:latin typeface="Calibri" panose="020F0502020204030204" pitchFamily="34" charset="0"/>
                <a:ea typeface="Calibri" panose="020F0502020204030204" pitchFamily="34" charset="0"/>
                <a:cs typeface="Calibri" panose="020F0502020204030204" pitchFamily="34" charset="0"/>
              </a:rPr>
              <a:t>The process will involve the right number and types of people</a:t>
            </a:r>
            <a:endParaRPr lang="en-GB" sz="24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GB" sz="2400" dirty="0">
                <a:effectLst/>
                <a:latin typeface="Calibri" panose="020F0502020204030204" pitchFamily="34" charset="0"/>
                <a:ea typeface="Calibri" panose="020F0502020204030204" pitchFamily="34" charset="0"/>
                <a:cs typeface="Calibri" panose="020F0502020204030204" pitchFamily="34" charset="0"/>
              </a:rPr>
              <a:t>The process will treat participants with respect</a:t>
            </a:r>
            <a:endParaRPr lang="en-GB" sz="24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GB" sz="2400" dirty="0">
                <a:effectLst/>
                <a:latin typeface="Calibri" panose="020F0502020204030204" pitchFamily="34" charset="0"/>
                <a:ea typeface="Calibri" panose="020F0502020204030204" pitchFamily="34" charset="0"/>
                <a:cs typeface="Calibri" panose="020F0502020204030204" pitchFamily="34" charset="0"/>
              </a:rPr>
              <a:t>The process will give priority to participants’ discussions</a:t>
            </a:r>
            <a:endParaRPr lang="en-GB" sz="24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GB" sz="2400" dirty="0">
                <a:effectLst/>
                <a:latin typeface="Calibri" panose="020F0502020204030204" pitchFamily="34" charset="0"/>
                <a:ea typeface="Calibri" panose="020F0502020204030204" pitchFamily="34" charset="0"/>
                <a:cs typeface="Calibri" panose="020F0502020204030204" pitchFamily="34" charset="0"/>
              </a:rPr>
              <a:t>The process will be continuously reviewed and evaluated to improve future events in the series and the achievement of outcomes</a:t>
            </a:r>
            <a:endParaRPr lang="en-GB" sz="24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mj-lt"/>
              <a:buAutoNum type="arabicPeriod"/>
            </a:pPr>
            <a:r>
              <a:rPr lang="en-GB" sz="2400" dirty="0">
                <a:effectLst/>
                <a:latin typeface="Calibri" panose="020F0502020204030204" pitchFamily="34" charset="0"/>
                <a:ea typeface="Calibri" panose="020F0502020204030204" pitchFamily="34" charset="0"/>
                <a:cs typeface="Calibri" panose="020F0502020204030204" pitchFamily="34" charset="0"/>
              </a:rPr>
              <a:t>Participants will be kept informed</a:t>
            </a:r>
            <a:endParaRPr lang="en-GB" sz="2400" dirty="0">
              <a:effectLst/>
              <a:latin typeface="Calibri" panose="020F0502020204030204" pitchFamily="34" charset="0"/>
              <a:ea typeface="Calibri" panose="020F0502020204030204" pitchFamily="34" charset="0"/>
              <a:cs typeface="Times New Roman" panose="02020603050405020304" pitchFamily="18" charset="0"/>
            </a:endParaRPr>
          </a:p>
          <a:p>
            <a:endParaRPr lang="en-GB" sz="4000" dirty="0"/>
          </a:p>
        </p:txBody>
      </p:sp>
      <p:sp>
        <p:nvSpPr>
          <p:cNvPr id="6" name="TextBox 5">
            <a:extLst>
              <a:ext uri="{FF2B5EF4-FFF2-40B4-BE49-F238E27FC236}">
                <a16:creationId xmlns:a16="http://schemas.microsoft.com/office/drawing/2014/main" id="{86C9203D-E801-46C6-93EF-AF1D7C30EA0C}"/>
              </a:ext>
            </a:extLst>
          </p:cNvPr>
          <p:cNvSpPr txBox="1"/>
          <p:nvPr/>
        </p:nvSpPr>
        <p:spPr>
          <a:xfrm flipH="1">
            <a:off x="9694602" y="6248494"/>
            <a:ext cx="205235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Source: </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Involve UK </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70721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551A2E-0B43-45C0-8258-6A8F874DBD0C}"/>
              </a:ext>
            </a:extLst>
          </p:cNvPr>
          <p:cNvSpPr>
            <a:spLocks noGrp="1"/>
          </p:cNvSpPr>
          <p:nvPr>
            <p:ph type="title"/>
          </p:nvPr>
        </p:nvSpPr>
        <p:spPr>
          <a:xfrm>
            <a:off x="131362" y="18255"/>
            <a:ext cx="11817545" cy="1325563"/>
          </a:xfrm>
        </p:spPr>
        <p:txBody>
          <a:bodyPr/>
          <a:lstStyle/>
          <a:p>
            <a:r>
              <a:rPr lang="en-GB" dirty="0"/>
              <a:t>Nine principles of deliberative engagement</a:t>
            </a:r>
          </a:p>
        </p:txBody>
      </p:sp>
      <p:sp>
        <p:nvSpPr>
          <p:cNvPr id="3" name="Content Placeholder 2">
            <a:extLst>
              <a:ext uri="{FF2B5EF4-FFF2-40B4-BE49-F238E27FC236}">
                <a16:creationId xmlns:a16="http://schemas.microsoft.com/office/drawing/2014/main" id="{588E96EF-8462-41A7-B137-74A8D956A642}"/>
              </a:ext>
            </a:extLst>
          </p:cNvPr>
          <p:cNvSpPr>
            <a:spLocks noGrp="1"/>
          </p:cNvSpPr>
          <p:nvPr>
            <p:ph idx="1"/>
          </p:nvPr>
        </p:nvSpPr>
        <p:spPr>
          <a:xfrm>
            <a:off x="310878" y="1147473"/>
            <a:ext cx="10515600" cy="5326253"/>
          </a:xfrm>
        </p:spPr>
        <p:txBody>
          <a:bodyPr>
            <a:normAutofit/>
          </a:bodyPr>
          <a:lstStyle/>
          <a:p>
            <a:pPr marL="342900" lvl="0" indent="-342900">
              <a:lnSpc>
                <a:spcPct val="107000"/>
              </a:lnSpc>
              <a:buFont typeface="+mj-lt"/>
              <a:buAutoNum type="arabicPeriod"/>
            </a:pPr>
            <a:r>
              <a:rPr lang="en-GB" sz="2400" dirty="0">
                <a:solidFill>
                  <a:schemeClr val="bg1">
                    <a:lumMod val="50000"/>
                  </a:schemeClr>
                </a:solidFill>
                <a:effectLst/>
                <a:latin typeface="Calibri" panose="020F0502020204030204" pitchFamily="34" charset="0"/>
                <a:ea typeface="Calibri" panose="020F0502020204030204" pitchFamily="34" charset="0"/>
                <a:cs typeface="Calibri" panose="020F0502020204030204" pitchFamily="34" charset="0"/>
              </a:rPr>
              <a:t>The process will make a difference</a:t>
            </a:r>
            <a:endParaRPr lang="en-GB" sz="24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GB" sz="2400" dirty="0">
                <a:solidFill>
                  <a:schemeClr val="bg1">
                    <a:lumMod val="50000"/>
                  </a:schemeClr>
                </a:solidFill>
                <a:effectLst/>
                <a:latin typeface="Calibri" panose="020F0502020204030204" pitchFamily="34" charset="0"/>
                <a:ea typeface="Calibri" panose="020F0502020204030204" pitchFamily="34" charset="0"/>
                <a:cs typeface="Calibri" panose="020F0502020204030204" pitchFamily="34" charset="0"/>
              </a:rPr>
              <a:t>The process will be transparent</a:t>
            </a:r>
            <a:endParaRPr lang="en-GB" sz="24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GB" sz="2400" dirty="0">
                <a:solidFill>
                  <a:schemeClr val="bg1">
                    <a:lumMod val="50000"/>
                  </a:schemeClr>
                </a:solidFill>
                <a:effectLst/>
                <a:latin typeface="Calibri" panose="020F0502020204030204" pitchFamily="34" charset="0"/>
                <a:ea typeface="Calibri" panose="020F0502020204030204" pitchFamily="34" charset="0"/>
                <a:cs typeface="Calibri" panose="020F0502020204030204" pitchFamily="34" charset="0"/>
              </a:rPr>
              <a:t>The process will have integrity</a:t>
            </a:r>
            <a:endParaRPr lang="en-GB" sz="24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GB" sz="2400" dirty="0">
                <a:solidFill>
                  <a:schemeClr val="bg1">
                    <a:lumMod val="50000"/>
                  </a:schemeClr>
                </a:solidFill>
                <a:effectLst/>
                <a:latin typeface="Calibri" panose="020F0502020204030204" pitchFamily="34" charset="0"/>
                <a:ea typeface="Calibri" panose="020F0502020204030204" pitchFamily="34" charset="0"/>
                <a:cs typeface="Calibri" panose="020F0502020204030204" pitchFamily="34" charset="0"/>
              </a:rPr>
              <a:t>The process will be tailored to the specific context</a:t>
            </a:r>
            <a:endParaRPr lang="en-GB" sz="24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GB" sz="2400" dirty="0">
                <a:solidFill>
                  <a:schemeClr val="bg1">
                    <a:lumMod val="50000"/>
                  </a:schemeClr>
                </a:solidFill>
                <a:effectLst/>
                <a:latin typeface="Calibri" panose="020F0502020204030204" pitchFamily="34" charset="0"/>
                <a:ea typeface="Calibri" panose="020F0502020204030204" pitchFamily="34" charset="0"/>
                <a:cs typeface="Calibri" panose="020F0502020204030204" pitchFamily="34" charset="0"/>
              </a:rPr>
              <a:t>The process will involve the right number and types of people</a:t>
            </a:r>
            <a:endParaRPr lang="en-GB" sz="24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GB" sz="2400" dirty="0">
                <a:solidFill>
                  <a:schemeClr val="bg1">
                    <a:lumMod val="50000"/>
                  </a:schemeClr>
                </a:solidFill>
                <a:effectLst/>
                <a:latin typeface="Calibri" panose="020F0502020204030204" pitchFamily="34" charset="0"/>
                <a:ea typeface="Calibri" panose="020F0502020204030204" pitchFamily="34" charset="0"/>
                <a:cs typeface="Calibri" panose="020F0502020204030204" pitchFamily="34" charset="0"/>
              </a:rPr>
              <a:t>The process will treat participants with respect</a:t>
            </a:r>
            <a:endParaRPr lang="en-GB" sz="24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GB" sz="2400" dirty="0">
                <a:solidFill>
                  <a:schemeClr val="bg1">
                    <a:lumMod val="50000"/>
                  </a:schemeClr>
                </a:solidFill>
                <a:effectLst/>
                <a:latin typeface="Calibri" panose="020F0502020204030204" pitchFamily="34" charset="0"/>
                <a:ea typeface="Calibri" panose="020F0502020204030204" pitchFamily="34" charset="0"/>
                <a:cs typeface="Calibri" panose="020F0502020204030204" pitchFamily="34" charset="0"/>
              </a:rPr>
              <a:t>The process will give priority to participants’ discussions</a:t>
            </a:r>
            <a:endParaRPr lang="en-GB" sz="24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GB" sz="2400" dirty="0">
                <a:solidFill>
                  <a:schemeClr val="bg1">
                    <a:lumMod val="50000"/>
                  </a:schemeClr>
                </a:solidFill>
                <a:effectLst/>
                <a:latin typeface="Calibri" panose="020F0502020204030204" pitchFamily="34" charset="0"/>
                <a:ea typeface="Calibri" panose="020F0502020204030204" pitchFamily="34" charset="0"/>
                <a:cs typeface="Calibri" panose="020F0502020204030204" pitchFamily="34" charset="0"/>
              </a:rPr>
              <a:t>The process will be continuously reviewed and evaluated to improve future events in the series and the achievement of outcomes</a:t>
            </a:r>
            <a:endParaRPr lang="en-GB" sz="24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mj-lt"/>
              <a:buAutoNum type="arabicPeriod"/>
            </a:pPr>
            <a:r>
              <a:rPr lang="en-GB" sz="2400" dirty="0">
                <a:solidFill>
                  <a:schemeClr val="bg1">
                    <a:lumMod val="50000"/>
                  </a:schemeClr>
                </a:solidFill>
                <a:effectLst/>
                <a:latin typeface="Calibri" panose="020F0502020204030204" pitchFamily="34" charset="0"/>
                <a:ea typeface="Calibri" panose="020F0502020204030204" pitchFamily="34" charset="0"/>
                <a:cs typeface="Calibri" panose="020F0502020204030204" pitchFamily="34" charset="0"/>
              </a:rPr>
              <a:t>Participants will be kept informed</a:t>
            </a:r>
            <a:endParaRPr lang="en-GB" sz="24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GB" sz="4000" dirty="0"/>
          </a:p>
        </p:txBody>
      </p:sp>
      <p:sp>
        <p:nvSpPr>
          <p:cNvPr id="6" name="TextBox 5">
            <a:extLst>
              <a:ext uri="{FF2B5EF4-FFF2-40B4-BE49-F238E27FC236}">
                <a16:creationId xmlns:a16="http://schemas.microsoft.com/office/drawing/2014/main" id="{86C9203D-E801-46C6-93EF-AF1D7C30EA0C}"/>
              </a:ext>
            </a:extLst>
          </p:cNvPr>
          <p:cNvSpPr txBox="1"/>
          <p:nvPr/>
        </p:nvSpPr>
        <p:spPr>
          <a:xfrm flipH="1">
            <a:off x="9694602" y="6248494"/>
            <a:ext cx="205235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Source: </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Involve UK </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B68F8BA9-6354-4053-AA99-19C3D4119992}"/>
              </a:ext>
            </a:extLst>
          </p:cNvPr>
          <p:cNvSpPr txBox="1"/>
          <p:nvPr/>
        </p:nvSpPr>
        <p:spPr>
          <a:xfrm>
            <a:off x="7715125" y="1147473"/>
            <a:ext cx="3958953" cy="1938992"/>
          </a:xfrm>
          <a:prstGeom prst="rect">
            <a:avLst/>
          </a:prstGeom>
          <a:noFill/>
        </p:spPr>
        <p:txBody>
          <a:bodyPr wrap="square" rtlCol="0">
            <a:spAutoFit/>
          </a:bodyPr>
          <a:lstStyle/>
          <a:p>
            <a:r>
              <a:rPr lang="en-GB" sz="2400" dirty="0"/>
              <a:t>Process: 250 people were engaged in a deliberative community over through three deliberative events over a nine month period</a:t>
            </a:r>
          </a:p>
        </p:txBody>
      </p:sp>
    </p:spTree>
    <p:extLst>
      <p:ext uri="{BB962C8B-B14F-4D97-AF65-F5344CB8AC3E}">
        <p14:creationId xmlns:p14="http://schemas.microsoft.com/office/powerpoint/2010/main" val="38125905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2624A5-6D92-4359-9556-9A78CCA2FD0C}"/>
              </a:ext>
            </a:extLst>
          </p:cNvPr>
          <p:cNvSpPr>
            <a:spLocks noGrp="1"/>
          </p:cNvSpPr>
          <p:nvPr>
            <p:ph type="title"/>
          </p:nvPr>
        </p:nvSpPr>
        <p:spPr>
          <a:xfrm>
            <a:off x="336063" y="237330"/>
            <a:ext cx="10515600" cy="1325563"/>
          </a:xfrm>
        </p:spPr>
        <p:txBody>
          <a:bodyPr/>
          <a:lstStyle/>
          <a:p>
            <a:r>
              <a:rPr lang="en-GB" dirty="0"/>
              <a:t>Building community and engagement for improvement</a:t>
            </a:r>
          </a:p>
        </p:txBody>
      </p:sp>
      <p:sp>
        <p:nvSpPr>
          <p:cNvPr id="3" name="Content Placeholder 2">
            <a:extLst>
              <a:ext uri="{FF2B5EF4-FFF2-40B4-BE49-F238E27FC236}">
                <a16:creationId xmlns:a16="http://schemas.microsoft.com/office/drawing/2014/main" id="{9A94CC7C-20DD-4184-8601-58AB0A6E60A0}"/>
              </a:ext>
            </a:extLst>
          </p:cNvPr>
          <p:cNvSpPr>
            <a:spLocks noGrp="1"/>
          </p:cNvSpPr>
          <p:nvPr>
            <p:ph idx="1"/>
          </p:nvPr>
        </p:nvSpPr>
        <p:spPr>
          <a:xfrm>
            <a:off x="336063" y="1915318"/>
            <a:ext cx="10515600" cy="4351338"/>
          </a:xfrm>
        </p:spPr>
        <p:txBody>
          <a:bodyPr/>
          <a:lstStyle/>
          <a:p>
            <a:pPr marL="0" indent="0">
              <a:buNone/>
            </a:pPr>
            <a:r>
              <a:rPr lang="en-GB" dirty="0"/>
              <a:t>Three approaches over the next few days:</a:t>
            </a:r>
          </a:p>
          <a:p>
            <a:pPr marL="514350" indent="-514350" algn="l">
              <a:buFont typeface="+mj-lt"/>
              <a:buAutoNum type="arabicPeriod"/>
            </a:pPr>
            <a:r>
              <a:rPr lang="en-GB" b="1" i="0" dirty="0">
                <a:solidFill>
                  <a:schemeClr val="accent1"/>
                </a:solidFill>
                <a:effectLst/>
              </a:rPr>
              <a:t>Accelerated design </a:t>
            </a:r>
            <a:r>
              <a:rPr lang="en-GB" b="0" i="0" dirty="0">
                <a:solidFill>
                  <a:srgbClr val="212529"/>
                </a:solidFill>
                <a:effectLst/>
              </a:rPr>
              <a:t>approaches for complex problem solving</a:t>
            </a:r>
          </a:p>
          <a:p>
            <a:pPr marL="514350" indent="-514350" algn="l">
              <a:buFont typeface="+mj-lt"/>
              <a:buAutoNum type="arabicPeriod"/>
            </a:pPr>
            <a:r>
              <a:rPr lang="en-GB" b="1" i="0" dirty="0">
                <a:solidFill>
                  <a:schemeClr val="accent1"/>
                </a:solidFill>
                <a:effectLst/>
              </a:rPr>
              <a:t>Crowdsourcing</a:t>
            </a:r>
            <a:r>
              <a:rPr lang="en-GB" b="0" i="0" dirty="0">
                <a:solidFill>
                  <a:srgbClr val="212529"/>
                </a:solidFill>
                <a:effectLst/>
              </a:rPr>
              <a:t> and open innovation approaches to hear many voices</a:t>
            </a:r>
          </a:p>
          <a:p>
            <a:pPr marL="514350" indent="-514350" algn="l">
              <a:buFont typeface="+mj-lt"/>
              <a:buAutoNum type="arabicPeriod"/>
            </a:pPr>
            <a:r>
              <a:rPr lang="en-GB" b="1" i="0" dirty="0">
                <a:solidFill>
                  <a:schemeClr val="accent1"/>
                </a:solidFill>
                <a:effectLst/>
              </a:rPr>
              <a:t>Positive Deviance </a:t>
            </a:r>
            <a:r>
              <a:rPr lang="en-GB" b="0" i="0" dirty="0">
                <a:solidFill>
                  <a:srgbClr val="212529"/>
                </a:solidFill>
                <a:effectLst/>
              </a:rPr>
              <a:t>methodology through community</a:t>
            </a:r>
          </a:p>
        </p:txBody>
      </p:sp>
      <p:pic>
        <p:nvPicPr>
          <p:cNvPr id="4" name="Picture 3">
            <a:extLst>
              <a:ext uri="{FF2B5EF4-FFF2-40B4-BE49-F238E27FC236}">
                <a16:creationId xmlns:a16="http://schemas.microsoft.com/office/drawing/2014/main" id="{890AD723-A3E2-475C-A2D9-F129D517A0DA}"/>
              </a:ext>
            </a:extLst>
          </p:cNvPr>
          <p:cNvPicPr>
            <a:picLocks noChangeAspect="1"/>
          </p:cNvPicPr>
          <p:nvPr/>
        </p:nvPicPr>
        <p:blipFill>
          <a:blip r:embed="rId2"/>
          <a:stretch>
            <a:fillRect/>
          </a:stretch>
        </p:blipFill>
        <p:spPr>
          <a:xfrm>
            <a:off x="0" y="5824045"/>
            <a:ext cx="12192000" cy="696310"/>
          </a:xfrm>
          <a:prstGeom prst="rect">
            <a:avLst/>
          </a:prstGeom>
        </p:spPr>
      </p:pic>
    </p:spTree>
    <p:extLst>
      <p:ext uri="{BB962C8B-B14F-4D97-AF65-F5344CB8AC3E}">
        <p14:creationId xmlns:p14="http://schemas.microsoft.com/office/powerpoint/2010/main" val="26739064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AB93EC-BF35-4236-BCD6-2CE027BABB16}"/>
              </a:ext>
            </a:extLst>
          </p:cNvPr>
          <p:cNvSpPr>
            <a:spLocks noGrp="1"/>
          </p:cNvSpPr>
          <p:nvPr>
            <p:ph type="title"/>
          </p:nvPr>
        </p:nvSpPr>
        <p:spPr>
          <a:xfrm>
            <a:off x="583247" y="2210117"/>
            <a:ext cx="3663633" cy="1325563"/>
          </a:xfrm>
        </p:spPr>
        <p:txBody>
          <a:bodyPr/>
          <a:lstStyle/>
          <a:p>
            <a:pPr algn="ctr"/>
            <a:r>
              <a:rPr lang="en-GB" b="1" dirty="0">
                <a:solidFill>
                  <a:srgbClr val="0070C0"/>
                </a:solidFill>
                <a:latin typeface="+mn-lt"/>
              </a:rPr>
              <a:t>The Horizons NHS team</a:t>
            </a:r>
          </a:p>
        </p:txBody>
      </p:sp>
      <p:pic>
        <p:nvPicPr>
          <p:cNvPr id="4" name="Picture 3">
            <a:extLst>
              <a:ext uri="{FF2B5EF4-FFF2-40B4-BE49-F238E27FC236}">
                <a16:creationId xmlns:a16="http://schemas.microsoft.com/office/drawing/2014/main" id="{FCC2BBBF-6D31-44DD-B613-FD8F2B0DFD2F}"/>
              </a:ext>
            </a:extLst>
          </p:cNvPr>
          <p:cNvPicPr>
            <a:picLocks noChangeAspect="1"/>
          </p:cNvPicPr>
          <p:nvPr/>
        </p:nvPicPr>
        <p:blipFill>
          <a:blip r:embed="rId2"/>
          <a:stretch>
            <a:fillRect/>
          </a:stretch>
        </p:blipFill>
        <p:spPr>
          <a:xfrm>
            <a:off x="4471987" y="859155"/>
            <a:ext cx="7610475" cy="5353050"/>
          </a:xfrm>
          <a:prstGeom prst="rect">
            <a:avLst/>
          </a:prstGeom>
        </p:spPr>
      </p:pic>
    </p:spTree>
    <p:extLst>
      <p:ext uri="{BB962C8B-B14F-4D97-AF65-F5344CB8AC3E}">
        <p14:creationId xmlns:p14="http://schemas.microsoft.com/office/powerpoint/2010/main" val="29924979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5CFE03-FF03-49C2-9801-DACFA6BDBFE6}"/>
              </a:ext>
            </a:extLst>
          </p:cNvPr>
          <p:cNvSpPr>
            <a:spLocks noGrp="1"/>
          </p:cNvSpPr>
          <p:nvPr>
            <p:ph type="title"/>
          </p:nvPr>
        </p:nvSpPr>
        <p:spPr/>
        <p:txBody>
          <a:bodyPr/>
          <a:lstStyle/>
          <a:p>
            <a:r>
              <a:rPr lang="en-GB" dirty="0">
                <a:solidFill>
                  <a:srgbClr val="0070C0"/>
                </a:solidFill>
              </a:rPr>
              <a:t>Our reach in a year</a:t>
            </a:r>
          </a:p>
        </p:txBody>
      </p:sp>
      <p:sp>
        <p:nvSpPr>
          <p:cNvPr id="3" name="Content Placeholder 2">
            <a:extLst>
              <a:ext uri="{FF2B5EF4-FFF2-40B4-BE49-F238E27FC236}">
                <a16:creationId xmlns:a16="http://schemas.microsoft.com/office/drawing/2014/main" id="{42EB7FAA-AE12-4F60-8C87-74B379C451BA}"/>
              </a:ext>
            </a:extLst>
          </p:cNvPr>
          <p:cNvSpPr>
            <a:spLocks noGrp="1"/>
          </p:cNvSpPr>
          <p:nvPr>
            <p:ph idx="1"/>
          </p:nvPr>
        </p:nvSpPr>
        <p:spPr/>
        <p:txBody>
          <a:bodyPr/>
          <a:lstStyle/>
          <a:p>
            <a:endParaRPr lang="en-GB"/>
          </a:p>
        </p:txBody>
      </p:sp>
      <p:pic>
        <p:nvPicPr>
          <p:cNvPr id="5" name="Picture 4">
            <a:extLst>
              <a:ext uri="{FF2B5EF4-FFF2-40B4-BE49-F238E27FC236}">
                <a16:creationId xmlns:a16="http://schemas.microsoft.com/office/drawing/2014/main" id="{DC4D134D-FEE7-4D5F-BB03-20EDA8665865}"/>
              </a:ext>
            </a:extLst>
          </p:cNvPr>
          <p:cNvPicPr>
            <a:picLocks noChangeAspect="1"/>
          </p:cNvPicPr>
          <p:nvPr/>
        </p:nvPicPr>
        <p:blipFill>
          <a:blip r:embed="rId2"/>
          <a:stretch>
            <a:fillRect/>
          </a:stretch>
        </p:blipFill>
        <p:spPr>
          <a:xfrm>
            <a:off x="0" y="985837"/>
            <a:ext cx="11826240" cy="5547043"/>
          </a:xfrm>
          <a:prstGeom prst="rect">
            <a:avLst/>
          </a:prstGeom>
        </p:spPr>
      </p:pic>
    </p:spTree>
    <p:extLst>
      <p:ext uri="{BB962C8B-B14F-4D97-AF65-F5344CB8AC3E}">
        <p14:creationId xmlns:p14="http://schemas.microsoft.com/office/powerpoint/2010/main" val="235234635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228725" y="0"/>
            <a:ext cx="8229600" cy="1143000"/>
          </a:xfrm>
        </p:spPr>
        <p:txBody>
          <a:bodyPr>
            <a:normAutofit/>
          </a:bodyPr>
          <a:lstStyle/>
          <a:p>
            <a:pPr algn="l"/>
            <a:r>
              <a:rPr lang="en-GB" b="1" dirty="0">
                <a:solidFill>
                  <a:srgbClr val="0070C0"/>
                </a:solidFill>
              </a:rPr>
              <a:t>What is accelerated design?</a:t>
            </a:r>
          </a:p>
        </p:txBody>
      </p:sp>
      <p:sp>
        <p:nvSpPr>
          <p:cNvPr id="4" name="Content Placeholder 3"/>
          <p:cNvSpPr>
            <a:spLocks noGrp="1"/>
          </p:cNvSpPr>
          <p:nvPr>
            <p:ph idx="1"/>
          </p:nvPr>
        </p:nvSpPr>
        <p:spPr>
          <a:xfrm>
            <a:off x="942975" y="1323629"/>
            <a:ext cx="10620375" cy="4525963"/>
          </a:xfrm>
        </p:spPr>
        <p:txBody>
          <a:bodyPr>
            <a:normAutofit lnSpcReduction="10000"/>
          </a:bodyPr>
          <a:lstStyle/>
          <a:p>
            <a:r>
              <a:rPr lang="en-GB" dirty="0"/>
              <a:t>A way to get diverse groups of people collaborating, coming together in community to build alignment and ownership, solve complex problems, drive cultural change and get work done</a:t>
            </a:r>
          </a:p>
          <a:p>
            <a:r>
              <a:rPr lang="en-GB" dirty="0"/>
              <a:t>Usually done through “accelerated design events”, which enable us to do work that would take three or four months using conventional approaches in one or two days</a:t>
            </a:r>
          </a:p>
          <a:p>
            <a:r>
              <a:rPr lang="en-GB" dirty="0"/>
              <a:t>Accelerated design isn’t just a facilitation style – it’s a way of working, thinking, designing solutions and fostering innovation</a:t>
            </a:r>
          </a:p>
          <a:p>
            <a:endParaRPr lang="en-GB"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458324" y="5278109"/>
            <a:ext cx="2322613" cy="12175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357941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BD54179-FE43-4AD1-9926-1F79FC722779}"/>
              </a:ext>
            </a:extLst>
          </p:cNvPr>
          <p:cNvSpPr txBox="1"/>
          <p:nvPr/>
        </p:nvSpPr>
        <p:spPr>
          <a:xfrm>
            <a:off x="4875144" y="4931699"/>
            <a:ext cx="1014124" cy="400110"/>
          </a:xfrm>
          <a:prstGeom prst="rect">
            <a:avLst/>
          </a:prstGeom>
          <a:noFill/>
        </p:spPr>
        <p:txBody>
          <a:bodyPr wrap="none" rtlCol="0">
            <a:spAutoFit/>
          </a:bodyPr>
          <a:lstStyle/>
          <a:p>
            <a:r>
              <a:rPr lang="en-GB" sz="2000" b="1" dirty="0">
                <a:solidFill>
                  <a:schemeClr val="accent1"/>
                </a:solidFill>
              </a:rPr>
              <a:t>VERSUS</a:t>
            </a:r>
          </a:p>
        </p:txBody>
      </p:sp>
      <p:pic>
        <p:nvPicPr>
          <p:cNvPr id="8" name="Picture 7">
            <a:extLst>
              <a:ext uri="{FF2B5EF4-FFF2-40B4-BE49-F238E27FC236}">
                <a16:creationId xmlns:a16="http://schemas.microsoft.com/office/drawing/2014/main" id="{42374343-6C94-420C-A784-9218EE698B1F}"/>
              </a:ext>
            </a:extLst>
          </p:cNvPr>
          <p:cNvPicPr>
            <a:picLocks noChangeAspect="1"/>
          </p:cNvPicPr>
          <p:nvPr/>
        </p:nvPicPr>
        <p:blipFill>
          <a:blip r:embed="rId2"/>
          <a:stretch>
            <a:fillRect/>
          </a:stretch>
        </p:blipFill>
        <p:spPr>
          <a:xfrm>
            <a:off x="392149" y="4047999"/>
            <a:ext cx="2801240" cy="1569660"/>
          </a:xfrm>
          <a:prstGeom prst="rect">
            <a:avLst/>
          </a:prstGeom>
        </p:spPr>
      </p:pic>
      <p:sp>
        <p:nvSpPr>
          <p:cNvPr id="4" name="Content Placeholder 3">
            <a:extLst>
              <a:ext uri="{FF2B5EF4-FFF2-40B4-BE49-F238E27FC236}">
                <a16:creationId xmlns:a16="http://schemas.microsoft.com/office/drawing/2014/main" id="{3E63105C-8A4C-41D5-BFFB-E6248213665D}"/>
              </a:ext>
            </a:extLst>
          </p:cNvPr>
          <p:cNvSpPr>
            <a:spLocks noGrp="1"/>
          </p:cNvSpPr>
          <p:nvPr>
            <p:ph idx="1"/>
          </p:nvPr>
        </p:nvSpPr>
        <p:spPr>
          <a:xfrm>
            <a:off x="628298" y="235121"/>
            <a:ext cx="10515600" cy="2762497"/>
          </a:xfrm>
        </p:spPr>
        <p:txBody>
          <a:bodyPr>
            <a:normAutofit fontScale="85000" lnSpcReduction="10000"/>
          </a:bodyPr>
          <a:lstStyle/>
          <a:p>
            <a:pPr marL="0" indent="0">
              <a:lnSpc>
                <a:spcPct val="120000"/>
              </a:lnSpc>
              <a:buNone/>
            </a:pPr>
            <a:r>
              <a:rPr lang="en-GB" sz="5600" b="1" dirty="0">
                <a:solidFill>
                  <a:schemeClr val="accent1"/>
                </a:solidFill>
              </a:rPr>
              <a:t>What is crowdsourcing?</a:t>
            </a:r>
          </a:p>
          <a:p>
            <a:pPr marL="0" indent="0" algn="ctr">
              <a:lnSpc>
                <a:spcPct val="120000"/>
              </a:lnSpc>
              <a:buNone/>
            </a:pPr>
            <a:r>
              <a:rPr lang="en-GB" sz="3900" dirty="0"/>
              <a:t>The practice of obtaining ideas, solutions or content by getting contributions from a large group of people online. We get large scale engagement by building </a:t>
            </a:r>
            <a:r>
              <a:rPr lang="en-GB" sz="3900" dirty="0" err="1"/>
              <a:t>comunity</a:t>
            </a:r>
            <a:endParaRPr lang="en-GB" sz="3900" dirty="0"/>
          </a:p>
          <a:p>
            <a:pPr marL="0" indent="0" algn="ctr">
              <a:buNone/>
            </a:pPr>
            <a:endParaRPr lang="en-GB" dirty="0"/>
          </a:p>
        </p:txBody>
      </p:sp>
      <p:sp>
        <p:nvSpPr>
          <p:cNvPr id="5" name="TextBox 4">
            <a:extLst>
              <a:ext uri="{FF2B5EF4-FFF2-40B4-BE49-F238E27FC236}">
                <a16:creationId xmlns:a16="http://schemas.microsoft.com/office/drawing/2014/main" id="{495661EB-CC74-423E-AFD4-C2F4D3044FBA}"/>
              </a:ext>
            </a:extLst>
          </p:cNvPr>
          <p:cNvSpPr txBox="1"/>
          <p:nvPr/>
        </p:nvSpPr>
        <p:spPr>
          <a:xfrm>
            <a:off x="3037080" y="4089982"/>
            <a:ext cx="1880558" cy="1569660"/>
          </a:xfrm>
          <a:prstGeom prst="rect">
            <a:avLst/>
          </a:prstGeom>
          <a:noFill/>
        </p:spPr>
        <p:txBody>
          <a:bodyPr wrap="square" rtlCol="0">
            <a:spAutoFit/>
          </a:bodyPr>
          <a:lstStyle/>
          <a:p>
            <a:pPr algn="ctr"/>
            <a:r>
              <a:rPr lang="en-GB" sz="2400" dirty="0"/>
              <a:t>Small, closed group of “experts” </a:t>
            </a:r>
          </a:p>
          <a:p>
            <a:pPr algn="ctr"/>
            <a:endParaRPr lang="en-GB" sz="2400" dirty="0"/>
          </a:p>
        </p:txBody>
      </p:sp>
      <p:sp>
        <p:nvSpPr>
          <p:cNvPr id="10" name="Rectangle 9">
            <a:extLst>
              <a:ext uri="{FF2B5EF4-FFF2-40B4-BE49-F238E27FC236}">
                <a16:creationId xmlns:a16="http://schemas.microsoft.com/office/drawing/2014/main" id="{07C40967-02DC-45F3-AC9E-E677720D23F5}"/>
              </a:ext>
            </a:extLst>
          </p:cNvPr>
          <p:cNvSpPr/>
          <p:nvPr/>
        </p:nvSpPr>
        <p:spPr>
          <a:xfrm>
            <a:off x="2697192" y="4415886"/>
            <a:ext cx="235789" cy="7102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Box 10">
            <a:extLst>
              <a:ext uri="{FF2B5EF4-FFF2-40B4-BE49-F238E27FC236}">
                <a16:creationId xmlns:a16="http://schemas.microsoft.com/office/drawing/2014/main" id="{5952CADB-27EE-4C96-B1B4-CA9AC191634A}"/>
              </a:ext>
            </a:extLst>
          </p:cNvPr>
          <p:cNvSpPr txBox="1"/>
          <p:nvPr/>
        </p:nvSpPr>
        <p:spPr>
          <a:xfrm rot="5400000">
            <a:off x="2385320" y="4641434"/>
            <a:ext cx="859531" cy="307777"/>
          </a:xfrm>
          <a:prstGeom prst="rect">
            <a:avLst/>
          </a:prstGeom>
          <a:noFill/>
        </p:spPr>
        <p:txBody>
          <a:bodyPr wrap="none" rtlCol="0">
            <a:spAutoFit/>
          </a:bodyPr>
          <a:lstStyle/>
          <a:p>
            <a:r>
              <a:rPr lang="en-GB" sz="1400" dirty="0"/>
              <a:t>Solutions</a:t>
            </a:r>
          </a:p>
        </p:txBody>
      </p:sp>
      <p:sp>
        <p:nvSpPr>
          <p:cNvPr id="7" name="TextBox 6">
            <a:extLst>
              <a:ext uri="{FF2B5EF4-FFF2-40B4-BE49-F238E27FC236}">
                <a16:creationId xmlns:a16="http://schemas.microsoft.com/office/drawing/2014/main" id="{86437FFD-99E8-4F31-9841-ECD7435181BF}"/>
              </a:ext>
            </a:extLst>
          </p:cNvPr>
          <p:cNvSpPr txBox="1"/>
          <p:nvPr/>
        </p:nvSpPr>
        <p:spPr>
          <a:xfrm>
            <a:off x="5955845" y="4041515"/>
            <a:ext cx="2156604" cy="1645831"/>
          </a:xfrm>
          <a:prstGeom prst="rect">
            <a:avLst/>
          </a:prstGeom>
          <a:noFill/>
        </p:spPr>
        <p:txBody>
          <a:bodyPr wrap="square" rtlCol="0">
            <a:spAutoFit/>
          </a:bodyPr>
          <a:lstStyle/>
          <a:p>
            <a:pPr algn="ctr"/>
            <a:r>
              <a:rPr lang="en-GB" sz="2400" dirty="0"/>
              <a:t>The wisdom and experience</a:t>
            </a:r>
          </a:p>
          <a:p>
            <a:pPr algn="ctr"/>
            <a:r>
              <a:rPr lang="en-GB" sz="2400" dirty="0"/>
              <a:t>of many </a:t>
            </a:r>
          </a:p>
          <a:p>
            <a:pPr algn="ctr"/>
            <a:endParaRPr lang="en-GB" sz="2400" dirty="0"/>
          </a:p>
        </p:txBody>
      </p:sp>
      <p:pic>
        <p:nvPicPr>
          <p:cNvPr id="9" name="Picture 8">
            <a:extLst>
              <a:ext uri="{FF2B5EF4-FFF2-40B4-BE49-F238E27FC236}">
                <a16:creationId xmlns:a16="http://schemas.microsoft.com/office/drawing/2014/main" id="{515E549B-5BE1-4265-AD69-AE4156D0FD24}"/>
              </a:ext>
            </a:extLst>
          </p:cNvPr>
          <p:cNvPicPr>
            <a:picLocks noChangeAspect="1"/>
          </p:cNvPicPr>
          <p:nvPr/>
        </p:nvPicPr>
        <p:blipFill>
          <a:blip r:embed="rId3"/>
          <a:stretch>
            <a:fillRect/>
          </a:stretch>
        </p:blipFill>
        <p:spPr>
          <a:xfrm>
            <a:off x="8032260" y="3389971"/>
            <a:ext cx="3178215" cy="2623154"/>
          </a:xfrm>
          <a:prstGeom prst="rect">
            <a:avLst/>
          </a:prstGeom>
        </p:spPr>
      </p:pic>
      <p:sp>
        <p:nvSpPr>
          <p:cNvPr id="12" name="Rectangle 11">
            <a:extLst>
              <a:ext uri="{FF2B5EF4-FFF2-40B4-BE49-F238E27FC236}">
                <a16:creationId xmlns:a16="http://schemas.microsoft.com/office/drawing/2014/main" id="{9770A151-9C06-4306-8AD0-D55CAC9DD8A3}"/>
              </a:ext>
            </a:extLst>
          </p:cNvPr>
          <p:cNvSpPr/>
          <p:nvPr/>
        </p:nvSpPr>
        <p:spPr>
          <a:xfrm>
            <a:off x="10872116" y="4322787"/>
            <a:ext cx="235789" cy="7446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TextBox 12">
            <a:extLst>
              <a:ext uri="{FF2B5EF4-FFF2-40B4-BE49-F238E27FC236}">
                <a16:creationId xmlns:a16="http://schemas.microsoft.com/office/drawing/2014/main" id="{D0AA09AB-20BB-4C76-B96E-D77C3D9445B1}"/>
              </a:ext>
            </a:extLst>
          </p:cNvPr>
          <p:cNvSpPr txBox="1"/>
          <p:nvPr/>
        </p:nvSpPr>
        <p:spPr>
          <a:xfrm rot="5400000">
            <a:off x="10539389" y="4566747"/>
            <a:ext cx="901241" cy="307777"/>
          </a:xfrm>
          <a:prstGeom prst="rect">
            <a:avLst/>
          </a:prstGeom>
          <a:noFill/>
        </p:spPr>
        <p:txBody>
          <a:bodyPr wrap="none" rtlCol="0">
            <a:spAutoFit/>
          </a:bodyPr>
          <a:lstStyle/>
          <a:p>
            <a:r>
              <a:rPr lang="en-GB" sz="1400" dirty="0"/>
              <a:t>Solutions</a:t>
            </a:r>
          </a:p>
        </p:txBody>
      </p:sp>
      <p:sp>
        <p:nvSpPr>
          <p:cNvPr id="16" name="Rectangle 15">
            <a:extLst>
              <a:ext uri="{FF2B5EF4-FFF2-40B4-BE49-F238E27FC236}">
                <a16:creationId xmlns:a16="http://schemas.microsoft.com/office/drawing/2014/main" id="{A6FB2721-3146-41B4-AD09-6736AAC92EF4}"/>
              </a:ext>
            </a:extLst>
          </p:cNvPr>
          <p:cNvSpPr/>
          <p:nvPr/>
        </p:nvSpPr>
        <p:spPr>
          <a:xfrm rot="717214">
            <a:off x="8986285" y="3536545"/>
            <a:ext cx="1175028" cy="33365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Collaborators</a:t>
            </a:r>
          </a:p>
        </p:txBody>
      </p:sp>
      <p:sp>
        <p:nvSpPr>
          <p:cNvPr id="17" name="Rectangle 16">
            <a:extLst>
              <a:ext uri="{FF2B5EF4-FFF2-40B4-BE49-F238E27FC236}">
                <a16:creationId xmlns:a16="http://schemas.microsoft.com/office/drawing/2014/main" id="{3BEDB013-FA5A-459E-B880-287D34E3E1E3}"/>
              </a:ext>
            </a:extLst>
          </p:cNvPr>
          <p:cNvSpPr/>
          <p:nvPr/>
        </p:nvSpPr>
        <p:spPr>
          <a:xfrm rot="20549360">
            <a:off x="8980685" y="5573036"/>
            <a:ext cx="1149192" cy="33365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Collaborators</a:t>
            </a:r>
          </a:p>
        </p:txBody>
      </p:sp>
      <p:sp>
        <p:nvSpPr>
          <p:cNvPr id="18" name="Rectangle 17">
            <a:extLst>
              <a:ext uri="{FF2B5EF4-FFF2-40B4-BE49-F238E27FC236}">
                <a16:creationId xmlns:a16="http://schemas.microsoft.com/office/drawing/2014/main" id="{C62F2848-AAE9-46DA-8E1E-6FB9CA43E14D}"/>
              </a:ext>
            </a:extLst>
          </p:cNvPr>
          <p:cNvSpPr/>
          <p:nvPr/>
        </p:nvSpPr>
        <p:spPr>
          <a:xfrm>
            <a:off x="9991601" y="5187540"/>
            <a:ext cx="863487" cy="33365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Feedback</a:t>
            </a:r>
          </a:p>
        </p:txBody>
      </p:sp>
      <p:sp>
        <p:nvSpPr>
          <p:cNvPr id="19" name="Rectangle 18">
            <a:extLst>
              <a:ext uri="{FF2B5EF4-FFF2-40B4-BE49-F238E27FC236}">
                <a16:creationId xmlns:a16="http://schemas.microsoft.com/office/drawing/2014/main" id="{7365B81F-910E-4441-8DB6-3930D3595CB5}"/>
              </a:ext>
            </a:extLst>
          </p:cNvPr>
          <p:cNvSpPr/>
          <p:nvPr/>
        </p:nvSpPr>
        <p:spPr>
          <a:xfrm>
            <a:off x="10022288" y="3906485"/>
            <a:ext cx="863487" cy="33365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Feedback</a:t>
            </a:r>
          </a:p>
        </p:txBody>
      </p:sp>
      <p:sp>
        <p:nvSpPr>
          <p:cNvPr id="21" name="Freeform: Shape 20">
            <a:extLst>
              <a:ext uri="{FF2B5EF4-FFF2-40B4-BE49-F238E27FC236}">
                <a16:creationId xmlns:a16="http://schemas.microsoft.com/office/drawing/2014/main" id="{45AEC8E5-0671-4A35-8318-BA82E73C2030}"/>
              </a:ext>
            </a:extLst>
          </p:cNvPr>
          <p:cNvSpPr/>
          <p:nvPr/>
        </p:nvSpPr>
        <p:spPr>
          <a:xfrm>
            <a:off x="91166" y="3541741"/>
            <a:ext cx="4940909" cy="2964805"/>
          </a:xfrm>
          <a:custGeom>
            <a:avLst/>
            <a:gdLst>
              <a:gd name="connsiteX0" fmla="*/ 1979174 w 4940909"/>
              <a:gd name="connsiteY0" fmla="*/ 264125 h 2964805"/>
              <a:gd name="connsiteX1" fmla="*/ 1944668 w 4940909"/>
              <a:gd name="connsiteY1" fmla="*/ 237712 h 2964805"/>
              <a:gd name="connsiteX2" fmla="*/ 1927415 w 4940909"/>
              <a:gd name="connsiteY2" fmla="*/ 217904 h 2964805"/>
              <a:gd name="connsiteX3" fmla="*/ 1881408 w 4940909"/>
              <a:gd name="connsiteY3" fmla="*/ 191491 h 2964805"/>
              <a:gd name="connsiteX4" fmla="*/ 1818147 w 4940909"/>
              <a:gd name="connsiteY4" fmla="*/ 151872 h 2964805"/>
              <a:gd name="connsiteX5" fmla="*/ 1760638 w 4940909"/>
              <a:gd name="connsiteY5" fmla="*/ 125459 h 2964805"/>
              <a:gd name="connsiteX6" fmla="*/ 1657121 w 4940909"/>
              <a:gd name="connsiteY6" fmla="*/ 99047 h 2964805"/>
              <a:gd name="connsiteX7" fmla="*/ 1611113 w 4940909"/>
              <a:gd name="connsiteY7" fmla="*/ 85841 h 2964805"/>
              <a:gd name="connsiteX8" fmla="*/ 1507596 w 4940909"/>
              <a:gd name="connsiteY8" fmla="*/ 66031 h 2964805"/>
              <a:gd name="connsiteX9" fmla="*/ 1352321 w 4940909"/>
              <a:gd name="connsiteY9" fmla="*/ 46222 h 2964805"/>
              <a:gd name="connsiteX10" fmla="*/ 1294811 w 4940909"/>
              <a:gd name="connsiteY10" fmla="*/ 33015 h 2964805"/>
              <a:gd name="connsiteX11" fmla="*/ 1225800 w 4940909"/>
              <a:gd name="connsiteY11" fmla="*/ 19809 h 2964805"/>
              <a:gd name="connsiteX12" fmla="*/ 949755 w 4940909"/>
              <a:gd name="connsiteY12" fmla="*/ 0 h 2964805"/>
              <a:gd name="connsiteX13" fmla="*/ 426419 w 4940909"/>
              <a:gd name="connsiteY13" fmla="*/ 13206 h 2964805"/>
              <a:gd name="connsiteX14" fmla="*/ 363159 w 4940909"/>
              <a:gd name="connsiteY14" fmla="*/ 33015 h 2964805"/>
              <a:gd name="connsiteX15" fmla="*/ 305649 w 4940909"/>
              <a:gd name="connsiteY15" fmla="*/ 52825 h 2964805"/>
              <a:gd name="connsiteX16" fmla="*/ 265392 w 4940909"/>
              <a:gd name="connsiteY16" fmla="*/ 72635 h 2964805"/>
              <a:gd name="connsiteX17" fmla="*/ 230887 w 4940909"/>
              <a:gd name="connsiteY17" fmla="*/ 99047 h 2964805"/>
              <a:gd name="connsiteX18" fmla="*/ 213634 w 4940909"/>
              <a:gd name="connsiteY18" fmla="*/ 118856 h 2964805"/>
              <a:gd name="connsiteX19" fmla="*/ 167626 w 4940909"/>
              <a:gd name="connsiteY19" fmla="*/ 151872 h 2964805"/>
              <a:gd name="connsiteX20" fmla="*/ 144623 w 4940909"/>
              <a:gd name="connsiteY20" fmla="*/ 184888 h 2964805"/>
              <a:gd name="connsiteX21" fmla="*/ 121619 w 4940909"/>
              <a:gd name="connsiteY21" fmla="*/ 204697 h 2964805"/>
              <a:gd name="connsiteX22" fmla="*/ 115868 w 4940909"/>
              <a:gd name="connsiteY22" fmla="*/ 224506 h 2964805"/>
              <a:gd name="connsiteX23" fmla="*/ 87113 w 4940909"/>
              <a:gd name="connsiteY23" fmla="*/ 270728 h 2964805"/>
              <a:gd name="connsiteX24" fmla="*/ 81362 w 4940909"/>
              <a:gd name="connsiteY24" fmla="*/ 290538 h 2964805"/>
              <a:gd name="connsiteX25" fmla="*/ 41106 w 4940909"/>
              <a:gd name="connsiteY25" fmla="*/ 389584 h 2964805"/>
              <a:gd name="connsiteX26" fmla="*/ 35355 w 4940909"/>
              <a:gd name="connsiteY26" fmla="*/ 422600 h 2964805"/>
              <a:gd name="connsiteX27" fmla="*/ 29604 w 4940909"/>
              <a:gd name="connsiteY27" fmla="*/ 468822 h 2964805"/>
              <a:gd name="connsiteX28" fmla="*/ 18102 w 4940909"/>
              <a:gd name="connsiteY28" fmla="*/ 488631 h 2964805"/>
              <a:gd name="connsiteX29" fmla="*/ 6600 w 4940909"/>
              <a:gd name="connsiteY29" fmla="*/ 713137 h 2964805"/>
              <a:gd name="connsiteX30" fmla="*/ 12351 w 4940909"/>
              <a:gd name="connsiteY30" fmla="*/ 732947 h 2964805"/>
              <a:gd name="connsiteX31" fmla="*/ 23853 w 4940909"/>
              <a:gd name="connsiteY31" fmla="*/ 759360 h 2964805"/>
              <a:gd name="connsiteX32" fmla="*/ 41106 w 4940909"/>
              <a:gd name="connsiteY32" fmla="*/ 792376 h 2964805"/>
              <a:gd name="connsiteX33" fmla="*/ 52608 w 4940909"/>
              <a:gd name="connsiteY33" fmla="*/ 831994 h 2964805"/>
              <a:gd name="connsiteX34" fmla="*/ 75611 w 4940909"/>
              <a:gd name="connsiteY34" fmla="*/ 898026 h 2964805"/>
              <a:gd name="connsiteX35" fmla="*/ 87113 w 4940909"/>
              <a:gd name="connsiteY35" fmla="*/ 950850 h 2964805"/>
              <a:gd name="connsiteX36" fmla="*/ 92864 w 4940909"/>
              <a:gd name="connsiteY36" fmla="*/ 983866 h 2964805"/>
              <a:gd name="connsiteX37" fmla="*/ 104366 w 4940909"/>
              <a:gd name="connsiteY37" fmla="*/ 1010279 h 2964805"/>
              <a:gd name="connsiteX38" fmla="*/ 127370 w 4940909"/>
              <a:gd name="connsiteY38" fmla="*/ 1247992 h 2964805"/>
              <a:gd name="connsiteX39" fmla="*/ 144623 w 4940909"/>
              <a:gd name="connsiteY39" fmla="*/ 1439482 h 2964805"/>
              <a:gd name="connsiteX40" fmla="*/ 150374 w 4940909"/>
              <a:gd name="connsiteY40" fmla="*/ 1954526 h 2964805"/>
              <a:gd name="connsiteX41" fmla="*/ 173377 w 4940909"/>
              <a:gd name="connsiteY41" fmla="*/ 2126207 h 2964805"/>
              <a:gd name="connsiteX42" fmla="*/ 190630 w 4940909"/>
              <a:gd name="connsiteY42" fmla="*/ 2278079 h 2964805"/>
              <a:gd name="connsiteX43" fmla="*/ 202132 w 4940909"/>
              <a:gd name="connsiteY43" fmla="*/ 2370523 h 2964805"/>
              <a:gd name="connsiteX44" fmla="*/ 225136 w 4940909"/>
              <a:gd name="connsiteY44" fmla="*/ 2495982 h 2964805"/>
              <a:gd name="connsiteX45" fmla="*/ 242389 w 4940909"/>
              <a:gd name="connsiteY45" fmla="*/ 2595029 h 2964805"/>
              <a:gd name="connsiteX46" fmla="*/ 271143 w 4940909"/>
              <a:gd name="connsiteY46" fmla="*/ 2654458 h 2964805"/>
              <a:gd name="connsiteX47" fmla="*/ 305649 w 4940909"/>
              <a:gd name="connsiteY47" fmla="*/ 2707282 h 2964805"/>
              <a:gd name="connsiteX48" fmla="*/ 340155 w 4940909"/>
              <a:gd name="connsiteY48" fmla="*/ 2740298 h 2964805"/>
              <a:gd name="connsiteX49" fmla="*/ 351657 w 4940909"/>
              <a:gd name="connsiteY49" fmla="*/ 2760108 h 2964805"/>
              <a:gd name="connsiteX50" fmla="*/ 409166 w 4940909"/>
              <a:gd name="connsiteY50" fmla="*/ 2799726 h 2964805"/>
              <a:gd name="connsiteX51" fmla="*/ 460925 w 4940909"/>
              <a:gd name="connsiteY51" fmla="*/ 2832742 h 2964805"/>
              <a:gd name="connsiteX52" fmla="*/ 483928 w 4940909"/>
              <a:gd name="connsiteY52" fmla="*/ 2852551 h 2964805"/>
              <a:gd name="connsiteX53" fmla="*/ 524185 w 4940909"/>
              <a:gd name="connsiteY53" fmla="*/ 2872361 h 2964805"/>
              <a:gd name="connsiteX54" fmla="*/ 610449 w 4940909"/>
              <a:gd name="connsiteY54" fmla="*/ 2925185 h 2964805"/>
              <a:gd name="connsiteX55" fmla="*/ 639204 w 4940909"/>
              <a:gd name="connsiteY55" fmla="*/ 2931789 h 2964805"/>
              <a:gd name="connsiteX56" fmla="*/ 679460 w 4940909"/>
              <a:gd name="connsiteY56" fmla="*/ 2951598 h 2964805"/>
              <a:gd name="connsiteX57" fmla="*/ 696713 w 4940909"/>
              <a:gd name="connsiteY57" fmla="*/ 2964805 h 2964805"/>
              <a:gd name="connsiteX58" fmla="*/ 1070525 w 4940909"/>
              <a:gd name="connsiteY58" fmla="*/ 2958201 h 2964805"/>
              <a:gd name="connsiteX59" fmla="*/ 1116532 w 4940909"/>
              <a:gd name="connsiteY59" fmla="*/ 2944995 h 2964805"/>
              <a:gd name="connsiteX60" fmla="*/ 1139536 w 4940909"/>
              <a:gd name="connsiteY60" fmla="*/ 2931789 h 2964805"/>
              <a:gd name="connsiteX61" fmla="*/ 1174042 w 4940909"/>
              <a:gd name="connsiteY61" fmla="*/ 2925185 h 2964805"/>
              <a:gd name="connsiteX62" fmla="*/ 1191294 w 4940909"/>
              <a:gd name="connsiteY62" fmla="*/ 2911979 h 2964805"/>
              <a:gd name="connsiteX63" fmla="*/ 1231551 w 4940909"/>
              <a:gd name="connsiteY63" fmla="*/ 2892171 h 2964805"/>
              <a:gd name="connsiteX64" fmla="*/ 1277559 w 4940909"/>
              <a:gd name="connsiteY64" fmla="*/ 2872361 h 2964805"/>
              <a:gd name="connsiteX65" fmla="*/ 1335068 w 4940909"/>
              <a:gd name="connsiteY65" fmla="*/ 2845948 h 2964805"/>
              <a:gd name="connsiteX66" fmla="*/ 1375325 w 4940909"/>
              <a:gd name="connsiteY66" fmla="*/ 2819535 h 2964805"/>
              <a:gd name="connsiteX67" fmla="*/ 1432834 w 4940909"/>
              <a:gd name="connsiteY67" fmla="*/ 2793123 h 2964805"/>
              <a:gd name="connsiteX68" fmla="*/ 1450087 w 4940909"/>
              <a:gd name="connsiteY68" fmla="*/ 2779917 h 2964805"/>
              <a:gd name="connsiteX69" fmla="*/ 1473091 w 4940909"/>
              <a:gd name="connsiteY69" fmla="*/ 2773314 h 2964805"/>
              <a:gd name="connsiteX70" fmla="*/ 1524849 w 4940909"/>
              <a:gd name="connsiteY70" fmla="*/ 2753505 h 2964805"/>
              <a:gd name="connsiteX71" fmla="*/ 1524849 w 4940909"/>
              <a:gd name="connsiteY71" fmla="*/ 2753505 h 2964805"/>
              <a:gd name="connsiteX72" fmla="*/ 1588109 w 4940909"/>
              <a:gd name="connsiteY72" fmla="*/ 2720489 h 2964805"/>
              <a:gd name="connsiteX73" fmla="*/ 1611113 w 4940909"/>
              <a:gd name="connsiteY73" fmla="*/ 2713885 h 2964805"/>
              <a:gd name="connsiteX74" fmla="*/ 1639868 w 4940909"/>
              <a:gd name="connsiteY74" fmla="*/ 2700679 h 2964805"/>
              <a:gd name="connsiteX75" fmla="*/ 1657121 w 4940909"/>
              <a:gd name="connsiteY75" fmla="*/ 2694076 h 2964805"/>
              <a:gd name="connsiteX76" fmla="*/ 1674374 w 4940909"/>
              <a:gd name="connsiteY76" fmla="*/ 2680869 h 2964805"/>
              <a:gd name="connsiteX77" fmla="*/ 1961921 w 4940909"/>
              <a:gd name="connsiteY77" fmla="*/ 2694076 h 2964805"/>
              <a:gd name="connsiteX78" fmla="*/ 2036683 w 4940909"/>
              <a:gd name="connsiteY78" fmla="*/ 2707282 h 2964805"/>
              <a:gd name="connsiteX79" fmla="*/ 2347234 w 4940909"/>
              <a:gd name="connsiteY79" fmla="*/ 2713885 h 2964805"/>
              <a:gd name="connsiteX80" fmla="*/ 2519762 w 4940909"/>
              <a:gd name="connsiteY80" fmla="*/ 2707282 h 2964805"/>
              <a:gd name="connsiteX81" fmla="*/ 2537015 w 4940909"/>
              <a:gd name="connsiteY81" fmla="*/ 2700679 h 2964805"/>
              <a:gd name="connsiteX82" fmla="*/ 2565770 w 4940909"/>
              <a:gd name="connsiteY82" fmla="*/ 2687473 h 2964805"/>
              <a:gd name="connsiteX83" fmla="*/ 2600276 w 4940909"/>
              <a:gd name="connsiteY83" fmla="*/ 2680869 h 2964805"/>
              <a:gd name="connsiteX84" fmla="*/ 2738298 w 4940909"/>
              <a:gd name="connsiteY84" fmla="*/ 2674266 h 2964805"/>
              <a:gd name="connsiteX85" fmla="*/ 2818811 w 4940909"/>
              <a:gd name="connsiteY85" fmla="*/ 2667664 h 2964805"/>
              <a:gd name="connsiteX86" fmla="*/ 2899325 w 4940909"/>
              <a:gd name="connsiteY86" fmla="*/ 2608236 h 2964805"/>
              <a:gd name="connsiteX87" fmla="*/ 2916577 w 4940909"/>
              <a:gd name="connsiteY87" fmla="*/ 2595029 h 2964805"/>
              <a:gd name="connsiteX88" fmla="*/ 2939581 w 4940909"/>
              <a:gd name="connsiteY88" fmla="*/ 2581823 h 2964805"/>
              <a:gd name="connsiteX89" fmla="*/ 2974087 w 4940909"/>
              <a:gd name="connsiteY89" fmla="*/ 2548808 h 2964805"/>
              <a:gd name="connsiteX90" fmla="*/ 3002842 w 4940909"/>
              <a:gd name="connsiteY90" fmla="*/ 2535602 h 2964805"/>
              <a:gd name="connsiteX91" fmla="*/ 3066102 w 4940909"/>
              <a:gd name="connsiteY91" fmla="*/ 2495982 h 2964805"/>
              <a:gd name="connsiteX92" fmla="*/ 3117860 w 4940909"/>
              <a:gd name="connsiteY92" fmla="*/ 2489379 h 2964805"/>
              <a:gd name="connsiteX93" fmla="*/ 3204125 w 4940909"/>
              <a:gd name="connsiteY93" fmla="*/ 2462966 h 2964805"/>
              <a:gd name="connsiteX94" fmla="*/ 3290389 w 4940909"/>
              <a:gd name="connsiteY94" fmla="*/ 2449760 h 2964805"/>
              <a:gd name="connsiteX95" fmla="*/ 3514676 w 4940909"/>
              <a:gd name="connsiteY95" fmla="*/ 2456363 h 2964805"/>
              <a:gd name="connsiteX96" fmla="*/ 3560683 w 4940909"/>
              <a:gd name="connsiteY96" fmla="*/ 2462966 h 2964805"/>
              <a:gd name="connsiteX97" fmla="*/ 3612442 w 4940909"/>
              <a:gd name="connsiteY97" fmla="*/ 2482776 h 2964805"/>
              <a:gd name="connsiteX98" fmla="*/ 3629694 w 4940909"/>
              <a:gd name="connsiteY98" fmla="*/ 2495982 h 2964805"/>
              <a:gd name="connsiteX99" fmla="*/ 3767717 w 4940909"/>
              <a:gd name="connsiteY99" fmla="*/ 2509189 h 2964805"/>
              <a:gd name="connsiteX100" fmla="*/ 4291053 w 4940909"/>
              <a:gd name="connsiteY100" fmla="*/ 2502586 h 2964805"/>
              <a:gd name="connsiteX101" fmla="*/ 4348562 w 4940909"/>
              <a:gd name="connsiteY101" fmla="*/ 2476173 h 2964805"/>
              <a:gd name="connsiteX102" fmla="*/ 4406072 w 4940909"/>
              <a:gd name="connsiteY102" fmla="*/ 2462966 h 2964805"/>
              <a:gd name="connsiteX103" fmla="*/ 4429076 w 4940909"/>
              <a:gd name="connsiteY103" fmla="*/ 2449760 h 2964805"/>
              <a:gd name="connsiteX104" fmla="*/ 4475083 w 4940909"/>
              <a:gd name="connsiteY104" fmla="*/ 2410142 h 2964805"/>
              <a:gd name="connsiteX105" fmla="*/ 4532592 w 4940909"/>
              <a:gd name="connsiteY105" fmla="*/ 2377126 h 2964805"/>
              <a:gd name="connsiteX106" fmla="*/ 4567098 w 4940909"/>
              <a:gd name="connsiteY106" fmla="*/ 2330904 h 2964805"/>
              <a:gd name="connsiteX107" fmla="*/ 4618857 w 4940909"/>
              <a:gd name="connsiteY107" fmla="*/ 2297889 h 2964805"/>
              <a:gd name="connsiteX108" fmla="*/ 4653362 w 4940909"/>
              <a:gd name="connsiteY108" fmla="*/ 2238460 h 2964805"/>
              <a:gd name="connsiteX109" fmla="*/ 4664864 w 4940909"/>
              <a:gd name="connsiteY109" fmla="*/ 2218651 h 2964805"/>
              <a:gd name="connsiteX110" fmla="*/ 4699370 w 4940909"/>
              <a:gd name="connsiteY110" fmla="*/ 2139413 h 2964805"/>
              <a:gd name="connsiteX111" fmla="*/ 4722374 w 4940909"/>
              <a:gd name="connsiteY111" fmla="*/ 2093191 h 2964805"/>
              <a:gd name="connsiteX112" fmla="*/ 4733876 w 4940909"/>
              <a:gd name="connsiteY112" fmla="*/ 2040367 h 2964805"/>
              <a:gd name="connsiteX113" fmla="*/ 4739626 w 4940909"/>
              <a:gd name="connsiteY113" fmla="*/ 2000747 h 2964805"/>
              <a:gd name="connsiteX114" fmla="*/ 4751128 w 4940909"/>
              <a:gd name="connsiteY114" fmla="*/ 1974335 h 2964805"/>
              <a:gd name="connsiteX115" fmla="*/ 4756879 w 4940909"/>
              <a:gd name="connsiteY115" fmla="*/ 1947923 h 2964805"/>
              <a:gd name="connsiteX116" fmla="*/ 4762630 w 4940909"/>
              <a:gd name="connsiteY116" fmla="*/ 1928114 h 2964805"/>
              <a:gd name="connsiteX117" fmla="*/ 4768381 w 4940909"/>
              <a:gd name="connsiteY117" fmla="*/ 1881891 h 2964805"/>
              <a:gd name="connsiteX118" fmla="*/ 4779883 w 4940909"/>
              <a:gd name="connsiteY118" fmla="*/ 1862082 h 2964805"/>
              <a:gd name="connsiteX119" fmla="*/ 4768381 w 4940909"/>
              <a:gd name="connsiteY119" fmla="*/ 1723417 h 2964805"/>
              <a:gd name="connsiteX120" fmla="*/ 4756879 w 4940909"/>
              <a:gd name="connsiteY120" fmla="*/ 1657385 h 2964805"/>
              <a:gd name="connsiteX121" fmla="*/ 4751128 w 4940909"/>
              <a:gd name="connsiteY121" fmla="*/ 1578148 h 2964805"/>
              <a:gd name="connsiteX122" fmla="*/ 4745377 w 4940909"/>
              <a:gd name="connsiteY122" fmla="*/ 1545132 h 2964805"/>
              <a:gd name="connsiteX123" fmla="*/ 4751128 w 4940909"/>
              <a:gd name="connsiteY123" fmla="*/ 1360245 h 2964805"/>
              <a:gd name="connsiteX124" fmla="*/ 4756879 w 4940909"/>
              <a:gd name="connsiteY124" fmla="*/ 1327229 h 2964805"/>
              <a:gd name="connsiteX125" fmla="*/ 4768381 w 4940909"/>
              <a:gd name="connsiteY125" fmla="*/ 1281006 h 2964805"/>
              <a:gd name="connsiteX126" fmla="*/ 4779883 w 4940909"/>
              <a:gd name="connsiteY126" fmla="*/ 1261198 h 2964805"/>
              <a:gd name="connsiteX127" fmla="*/ 4785634 w 4940909"/>
              <a:gd name="connsiteY127" fmla="*/ 1234785 h 2964805"/>
              <a:gd name="connsiteX128" fmla="*/ 4808638 w 4940909"/>
              <a:gd name="connsiteY128" fmla="*/ 1195166 h 2964805"/>
              <a:gd name="connsiteX129" fmla="*/ 4831642 w 4940909"/>
              <a:gd name="connsiteY129" fmla="*/ 1155548 h 2964805"/>
              <a:gd name="connsiteX130" fmla="*/ 4837392 w 4940909"/>
              <a:gd name="connsiteY130" fmla="*/ 1135738 h 2964805"/>
              <a:gd name="connsiteX131" fmla="*/ 4854645 w 4940909"/>
              <a:gd name="connsiteY131" fmla="*/ 1109326 h 2964805"/>
              <a:gd name="connsiteX132" fmla="*/ 4877649 w 4940909"/>
              <a:gd name="connsiteY132" fmla="*/ 1056500 h 2964805"/>
              <a:gd name="connsiteX133" fmla="*/ 4894902 w 4940909"/>
              <a:gd name="connsiteY133" fmla="*/ 1003676 h 2964805"/>
              <a:gd name="connsiteX134" fmla="*/ 4917906 w 4940909"/>
              <a:gd name="connsiteY134" fmla="*/ 950850 h 2964805"/>
              <a:gd name="connsiteX135" fmla="*/ 4929408 w 4940909"/>
              <a:gd name="connsiteY135" fmla="*/ 904629 h 2964805"/>
              <a:gd name="connsiteX136" fmla="*/ 4940909 w 4940909"/>
              <a:gd name="connsiteY136" fmla="*/ 825391 h 2964805"/>
              <a:gd name="connsiteX137" fmla="*/ 4935159 w 4940909"/>
              <a:gd name="connsiteY137" fmla="*/ 680123 h 2964805"/>
              <a:gd name="connsiteX138" fmla="*/ 4894902 w 4940909"/>
              <a:gd name="connsiteY138" fmla="*/ 594281 h 2964805"/>
              <a:gd name="connsiteX139" fmla="*/ 4860396 w 4940909"/>
              <a:gd name="connsiteY139" fmla="*/ 528250 h 2964805"/>
              <a:gd name="connsiteX140" fmla="*/ 4843143 w 4940909"/>
              <a:gd name="connsiteY140" fmla="*/ 495234 h 2964805"/>
              <a:gd name="connsiteX141" fmla="*/ 4808638 w 4940909"/>
              <a:gd name="connsiteY141" fmla="*/ 468822 h 2964805"/>
              <a:gd name="connsiteX142" fmla="*/ 4756879 w 4940909"/>
              <a:gd name="connsiteY142" fmla="*/ 415997 h 2964805"/>
              <a:gd name="connsiteX143" fmla="*/ 4647611 w 4940909"/>
              <a:gd name="connsiteY143" fmla="*/ 330157 h 2964805"/>
              <a:gd name="connsiteX144" fmla="*/ 4601604 w 4940909"/>
              <a:gd name="connsiteY144" fmla="*/ 297141 h 2964805"/>
              <a:gd name="connsiteX145" fmla="*/ 4590102 w 4940909"/>
              <a:gd name="connsiteY145" fmla="*/ 277331 h 2964805"/>
              <a:gd name="connsiteX146" fmla="*/ 4532592 w 4940909"/>
              <a:gd name="connsiteY146" fmla="*/ 257522 h 2964805"/>
              <a:gd name="connsiteX147" fmla="*/ 4475083 w 4940909"/>
              <a:gd name="connsiteY147" fmla="*/ 231109 h 2964805"/>
              <a:gd name="connsiteX148" fmla="*/ 4360064 w 4940909"/>
              <a:gd name="connsiteY148" fmla="*/ 171681 h 2964805"/>
              <a:gd name="connsiteX149" fmla="*/ 4308306 w 4940909"/>
              <a:gd name="connsiteY149" fmla="*/ 158475 h 2964805"/>
              <a:gd name="connsiteX150" fmla="*/ 3773890 w 4940909"/>
              <a:gd name="connsiteY150" fmla="*/ 163141 h 2964805"/>
              <a:gd name="connsiteX151" fmla="*/ 3299974 w 4940909"/>
              <a:gd name="connsiteY151" fmla="*/ 167279 h 2964805"/>
              <a:gd name="connsiteX152" fmla="*/ 2795808 w 4940909"/>
              <a:gd name="connsiteY152" fmla="*/ 171681 h 2964805"/>
              <a:gd name="connsiteX153" fmla="*/ 2755551 w 4940909"/>
              <a:gd name="connsiteY153" fmla="*/ 178285 h 2964805"/>
              <a:gd name="connsiteX154" fmla="*/ 2606026 w 4940909"/>
              <a:gd name="connsiteY154" fmla="*/ 184888 h 2964805"/>
              <a:gd name="connsiteX155" fmla="*/ 2076940 w 4940909"/>
              <a:gd name="connsiteY155" fmla="*/ 198094 h 2964805"/>
              <a:gd name="connsiteX156" fmla="*/ 2019430 w 4940909"/>
              <a:gd name="connsiteY156" fmla="*/ 211301 h 2964805"/>
              <a:gd name="connsiteX157" fmla="*/ 1984925 w 4940909"/>
              <a:gd name="connsiteY157" fmla="*/ 224506 h 2964805"/>
              <a:gd name="connsiteX158" fmla="*/ 1979174 w 4940909"/>
              <a:gd name="connsiteY158" fmla="*/ 264125 h 296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4940909" h="2964805" extrusionOk="0">
                <a:moveTo>
                  <a:pt x="1979174" y="264125"/>
                </a:moveTo>
                <a:cubicBezTo>
                  <a:pt x="1971301" y="265608"/>
                  <a:pt x="1953997" y="248051"/>
                  <a:pt x="1944668" y="237712"/>
                </a:cubicBezTo>
                <a:cubicBezTo>
                  <a:pt x="1939552" y="232254"/>
                  <a:pt x="1931477" y="223585"/>
                  <a:pt x="1927415" y="217904"/>
                </a:cubicBezTo>
                <a:cubicBezTo>
                  <a:pt x="1905067" y="199795"/>
                  <a:pt x="1902574" y="199957"/>
                  <a:pt x="1881408" y="191491"/>
                </a:cubicBezTo>
                <a:cubicBezTo>
                  <a:pt x="1757518" y="94954"/>
                  <a:pt x="1894664" y="190612"/>
                  <a:pt x="1818147" y="151872"/>
                </a:cubicBezTo>
                <a:cubicBezTo>
                  <a:pt x="1771271" y="122509"/>
                  <a:pt x="1824976" y="131182"/>
                  <a:pt x="1760638" y="125459"/>
                </a:cubicBezTo>
                <a:cubicBezTo>
                  <a:pt x="1670427" y="86906"/>
                  <a:pt x="1752492" y="118228"/>
                  <a:pt x="1657121" y="99047"/>
                </a:cubicBezTo>
                <a:cubicBezTo>
                  <a:pt x="1641096" y="92308"/>
                  <a:pt x="1624076" y="93314"/>
                  <a:pt x="1611113" y="85841"/>
                </a:cubicBezTo>
                <a:cubicBezTo>
                  <a:pt x="1579050" y="77941"/>
                  <a:pt x="1544035" y="72150"/>
                  <a:pt x="1507596" y="66031"/>
                </a:cubicBezTo>
                <a:cubicBezTo>
                  <a:pt x="1430835" y="31828"/>
                  <a:pt x="1527341" y="76856"/>
                  <a:pt x="1352321" y="46222"/>
                </a:cubicBezTo>
                <a:cubicBezTo>
                  <a:pt x="1335415" y="47933"/>
                  <a:pt x="1314476" y="41498"/>
                  <a:pt x="1294811" y="33015"/>
                </a:cubicBezTo>
                <a:cubicBezTo>
                  <a:pt x="1273296" y="30427"/>
                  <a:pt x="1249396" y="23028"/>
                  <a:pt x="1225800" y="19809"/>
                </a:cubicBezTo>
                <a:cubicBezTo>
                  <a:pt x="1143558" y="-1669"/>
                  <a:pt x="1044608" y="683"/>
                  <a:pt x="949755" y="0"/>
                </a:cubicBezTo>
                <a:cubicBezTo>
                  <a:pt x="816501" y="31083"/>
                  <a:pt x="606819" y="-38013"/>
                  <a:pt x="426419" y="13206"/>
                </a:cubicBezTo>
                <a:cubicBezTo>
                  <a:pt x="391541" y="13846"/>
                  <a:pt x="393423" y="22396"/>
                  <a:pt x="363159" y="33015"/>
                </a:cubicBezTo>
                <a:cubicBezTo>
                  <a:pt x="337970" y="41226"/>
                  <a:pt x="333584" y="37258"/>
                  <a:pt x="305649" y="52825"/>
                </a:cubicBezTo>
                <a:cubicBezTo>
                  <a:pt x="281305" y="69807"/>
                  <a:pt x="290389" y="62935"/>
                  <a:pt x="265392" y="72635"/>
                </a:cubicBezTo>
                <a:cubicBezTo>
                  <a:pt x="254536" y="80275"/>
                  <a:pt x="239093" y="90694"/>
                  <a:pt x="230887" y="99047"/>
                </a:cubicBezTo>
                <a:cubicBezTo>
                  <a:pt x="225201" y="104625"/>
                  <a:pt x="220264" y="113868"/>
                  <a:pt x="213634" y="118856"/>
                </a:cubicBezTo>
                <a:cubicBezTo>
                  <a:pt x="199008" y="131069"/>
                  <a:pt x="167626" y="151872"/>
                  <a:pt x="167626" y="151872"/>
                </a:cubicBezTo>
                <a:cubicBezTo>
                  <a:pt x="161013" y="163097"/>
                  <a:pt x="153027" y="175265"/>
                  <a:pt x="144623" y="184888"/>
                </a:cubicBezTo>
                <a:cubicBezTo>
                  <a:pt x="138662" y="190157"/>
                  <a:pt x="129523" y="198155"/>
                  <a:pt x="121619" y="204697"/>
                </a:cubicBezTo>
                <a:cubicBezTo>
                  <a:pt x="118246" y="211651"/>
                  <a:pt x="120848" y="219189"/>
                  <a:pt x="115868" y="224506"/>
                </a:cubicBezTo>
                <a:cubicBezTo>
                  <a:pt x="108530" y="244601"/>
                  <a:pt x="98814" y="254699"/>
                  <a:pt x="87113" y="270728"/>
                </a:cubicBezTo>
                <a:cubicBezTo>
                  <a:pt x="85992" y="277156"/>
                  <a:pt x="85333" y="285350"/>
                  <a:pt x="81362" y="290538"/>
                </a:cubicBezTo>
                <a:cubicBezTo>
                  <a:pt x="60604" y="332833"/>
                  <a:pt x="50465" y="331655"/>
                  <a:pt x="41106" y="389584"/>
                </a:cubicBezTo>
                <a:cubicBezTo>
                  <a:pt x="39048" y="400892"/>
                  <a:pt x="38796" y="409340"/>
                  <a:pt x="35355" y="422600"/>
                </a:cubicBezTo>
                <a:cubicBezTo>
                  <a:pt x="34709" y="439419"/>
                  <a:pt x="34352" y="453405"/>
                  <a:pt x="29604" y="468822"/>
                </a:cubicBezTo>
                <a:cubicBezTo>
                  <a:pt x="27587" y="476694"/>
                  <a:pt x="22050" y="481531"/>
                  <a:pt x="18102" y="488631"/>
                </a:cubicBezTo>
                <a:cubicBezTo>
                  <a:pt x="-12128" y="613368"/>
                  <a:pt x="-603" y="581302"/>
                  <a:pt x="6600" y="713137"/>
                </a:cubicBezTo>
                <a:cubicBezTo>
                  <a:pt x="7427" y="720000"/>
                  <a:pt x="9768" y="727900"/>
                  <a:pt x="12351" y="732947"/>
                </a:cubicBezTo>
                <a:cubicBezTo>
                  <a:pt x="16712" y="744593"/>
                  <a:pt x="20223" y="750861"/>
                  <a:pt x="23853" y="759360"/>
                </a:cubicBezTo>
                <a:cubicBezTo>
                  <a:pt x="28134" y="771319"/>
                  <a:pt x="35529" y="779269"/>
                  <a:pt x="41106" y="792376"/>
                </a:cubicBezTo>
                <a:cubicBezTo>
                  <a:pt x="44779" y="805209"/>
                  <a:pt x="50486" y="821570"/>
                  <a:pt x="52608" y="831994"/>
                </a:cubicBezTo>
                <a:cubicBezTo>
                  <a:pt x="59469" y="858364"/>
                  <a:pt x="73166" y="878903"/>
                  <a:pt x="75611" y="898026"/>
                </a:cubicBezTo>
                <a:cubicBezTo>
                  <a:pt x="116352" y="1028815"/>
                  <a:pt x="81121" y="881054"/>
                  <a:pt x="87113" y="950850"/>
                </a:cubicBezTo>
                <a:cubicBezTo>
                  <a:pt x="89817" y="962907"/>
                  <a:pt x="90514" y="973531"/>
                  <a:pt x="92864" y="983866"/>
                </a:cubicBezTo>
                <a:cubicBezTo>
                  <a:pt x="93693" y="993552"/>
                  <a:pt x="100075" y="1003147"/>
                  <a:pt x="104366" y="1010279"/>
                </a:cubicBezTo>
                <a:cubicBezTo>
                  <a:pt x="125721" y="1103285"/>
                  <a:pt x="106429" y="1039894"/>
                  <a:pt x="127370" y="1247992"/>
                </a:cubicBezTo>
                <a:cubicBezTo>
                  <a:pt x="140072" y="1429307"/>
                  <a:pt x="148421" y="1226049"/>
                  <a:pt x="144623" y="1439482"/>
                </a:cubicBezTo>
                <a:cubicBezTo>
                  <a:pt x="143917" y="1619352"/>
                  <a:pt x="191406" y="1799071"/>
                  <a:pt x="150374" y="1954526"/>
                </a:cubicBezTo>
                <a:cubicBezTo>
                  <a:pt x="154069" y="2064030"/>
                  <a:pt x="155710" y="2064621"/>
                  <a:pt x="173377" y="2126207"/>
                </a:cubicBezTo>
                <a:cubicBezTo>
                  <a:pt x="184866" y="2231678"/>
                  <a:pt x="171114" y="2132144"/>
                  <a:pt x="190630" y="2278079"/>
                </a:cubicBezTo>
                <a:cubicBezTo>
                  <a:pt x="193819" y="2296309"/>
                  <a:pt x="198364" y="2348583"/>
                  <a:pt x="202132" y="2370523"/>
                </a:cubicBezTo>
                <a:cubicBezTo>
                  <a:pt x="215677" y="2473546"/>
                  <a:pt x="200536" y="2378941"/>
                  <a:pt x="225136" y="2495982"/>
                </a:cubicBezTo>
                <a:cubicBezTo>
                  <a:pt x="229182" y="2544679"/>
                  <a:pt x="229432" y="2553363"/>
                  <a:pt x="242389" y="2595029"/>
                </a:cubicBezTo>
                <a:cubicBezTo>
                  <a:pt x="249515" y="2615090"/>
                  <a:pt x="263794" y="2637090"/>
                  <a:pt x="271143" y="2654458"/>
                </a:cubicBezTo>
                <a:cubicBezTo>
                  <a:pt x="294609" y="2697069"/>
                  <a:pt x="275613" y="2683725"/>
                  <a:pt x="305649" y="2707282"/>
                </a:cubicBezTo>
                <a:cubicBezTo>
                  <a:pt x="338670" y="2765264"/>
                  <a:pt x="304554" y="2696107"/>
                  <a:pt x="340155" y="2740298"/>
                </a:cubicBezTo>
                <a:cubicBezTo>
                  <a:pt x="345781" y="2744140"/>
                  <a:pt x="346497" y="2754964"/>
                  <a:pt x="351657" y="2760108"/>
                </a:cubicBezTo>
                <a:cubicBezTo>
                  <a:pt x="368497" y="2779027"/>
                  <a:pt x="392662" y="2784848"/>
                  <a:pt x="409166" y="2799726"/>
                </a:cubicBezTo>
                <a:cubicBezTo>
                  <a:pt x="428230" y="2811385"/>
                  <a:pt x="445908" y="2820330"/>
                  <a:pt x="460925" y="2832742"/>
                </a:cubicBezTo>
                <a:cubicBezTo>
                  <a:pt x="469208" y="2839374"/>
                  <a:pt x="476459" y="2847472"/>
                  <a:pt x="483928" y="2852551"/>
                </a:cubicBezTo>
                <a:cubicBezTo>
                  <a:pt x="496347" y="2860530"/>
                  <a:pt x="509751" y="2865327"/>
                  <a:pt x="524185" y="2872361"/>
                </a:cubicBezTo>
                <a:cubicBezTo>
                  <a:pt x="531586" y="2877056"/>
                  <a:pt x="598165" y="2919089"/>
                  <a:pt x="610449" y="2925185"/>
                </a:cubicBezTo>
                <a:cubicBezTo>
                  <a:pt x="618205" y="2929201"/>
                  <a:pt x="629349" y="2929153"/>
                  <a:pt x="639204" y="2931789"/>
                </a:cubicBezTo>
                <a:cubicBezTo>
                  <a:pt x="679092" y="2964716"/>
                  <a:pt x="623594" y="2932873"/>
                  <a:pt x="679460" y="2951598"/>
                </a:cubicBezTo>
                <a:cubicBezTo>
                  <a:pt x="684892" y="2954943"/>
                  <a:pt x="690186" y="2961131"/>
                  <a:pt x="696713" y="2964805"/>
                </a:cubicBezTo>
                <a:cubicBezTo>
                  <a:pt x="852641" y="2938838"/>
                  <a:pt x="884688" y="2976430"/>
                  <a:pt x="1070525" y="2958201"/>
                </a:cubicBezTo>
                <a:cubicBezTo>
                  <a:pt x="1081430" y="2957441"/>
                  <a:pt x="1106181" y="2948875"/>
                  <a:pt x="1116532" y="2944995"/>
                </a:cubicBezTo>
                <a:cubicBezTo>
                  <a:pt x="1124847" y="2941310"/>
                  <a:pt x="1131576" y="2934221"/>
                  <a:pt x="1139536" y="2931789"/>
                </a:cubicBezTo>
                <a:cubicBezTo>
                  <a:pt x="1151937" y="2927530"/>
                  <a:pt x="1164267" y="2927695"/>
                  <a:pt x="1174042" y="2925185"/>
                </a:cubicBezTo>
                <a:cubicBezTo>
                  <a:pt x="1179948" y="2922761"/>
                  <a:pt x="1183653" y="2914980"/>
                  <a:pt x="1191294" y="2911979"/>
                </a:cubicBezTo>
                <a:cubicBezTo>
                  <a:pt x="1207307" y="2904287"/>
                  <a:pt x="1217936" y="2895846"/>
                  <a:pt x="1231551" y="2892171"/>
                </a:cubicBezTo>
                <a:cubicBezTo>
                  <a:pt x="1274434" y="2871681"/>
                  <a:pt x="1223486" y="2906129"/>
                  <a:pt x="1277559" y="2872361"/>
                </a:cubicBezTo>
                <a:cubicBezTo>
                  <a:pt x="1338556" y="2845618"/>
                  <a:pt x="1301252" y="2850233"/>
                  <a:pt x="1335068" y="2845948"/>
                </a:cubicBezTo>
                <a:cubicBezTo>
                  <a:pt x="1372733" y="2798294"/>
                  <a:pt x="1336862" y="2842287"/>
                  <a:pt x="1375325" y="2819535"/>
                </a:cubicBezTo>
                <a:cubicBezTo>
                  <a:pt x="1446709" y="2779332"/>
                  <a:pt x="1382476" y="2810515"/>
                  <a:pt x="1432834" y="2793123"/>
                </a:cubicBezTo>
                <a:cubicBezTo>
                  <a:pt x="1438899" y="2786853"/>
                  <a:pt x="1443021" y="2781469"/>
                  <a:pt x="1450087" y="2779917"/>
                </a:cubicBezTo>
                <a:cubicBezTo>
                  <a:pt x="1457406" y="2776751"/>
                  <a:pt x="1464469" y="2775727"/>
                  <a:pt x="1473091" y="2773314"/>
                </a:cubicBezTo>
                <a:cubicBezTo>
                  <a:pt x="1490415" y="2765607"/>
                  <a:pt x="1505737" y="2758495"/>
                  <a:pt x="1524849" y="2753505"/>
                </a:cubicBezTo>
                <a:lnTo>
                  <a:pt x="1524849" y="2753505"/>
                </a:lnTo>
                <a:cubicBezTo>
                  <a:pt x="1546040" y="2742188"/>
                  <a:pt x="1564324" y="2731870"/>
                  <a:pt x="1588109" y="2720489"/>
                </a:cubicBezTo>
                <a:cubicBezTo>
                  <a:pt x="1596728" y="2717215"/>
                  <a:pt x="1604794" y="2717266"/>
                  <a:pt x="1611113" y="2713885"/>
                </a:cubicBezTo>
                <a:cubicBezTo>
                  <a:pt x="1622852" y="2711393"/>
                  <a:pt x="1629457" y="2707091"/>
                  <a:pt x="1639868" y="2700679"/>
                </a:cubicBezTo>
                <a:cubicBezTo>
                  <a:pt x="1646363" y="2697767"/>
                  <a:pt x="1650132" y="2696455"/>
                  <a:pt x="1657121" y="2694076"/>
                </a:cubicBezTo>
                <a:cubicBezTo>
                  <a:pt x="1663099" y="2690204"/>
                  <a:pt x="1668528" y="2685971"/>
                  <a:pt x="1674374" y="2680869"/>
                </a:cubicBezTo>
                <a:cubicBezTo>
                  <a:pt x="1786769" y="2699031"/>
                  <a:pt x="1871927" y="2662093"/>
                  <a:pt x="1961921" y="2694076"/>
                </a:cubicBezTo>
                <a:cubicBezTo>
                  <a:pt x="1990201" y="2690297"/>
                  <a:pt x="2017058" y="2707267"/>
                  <a:pt x="2036683" y="2707282"/>
                </a:cubicBezTo>
                <a:cubicBezTo>
                  <a:pt x="2113924" y="2728482"/>
                  <a:pt x="2229879" y="2736183"/>
                  <a:pt x="2347234" y="2713885"/>
                </a:cubicBezTo>
                <a:cubicBezTo>
                  <a:pt x="2407307" y="2712156"/>
                  <a:pt x="2473622" y="2705846"/>
                  <a:pt x="2519762" y="2707282"/>
                </a:cubicBezTo>
                <a:cubicBezTo>
                  <a:pt x="2524848" y="2705452"/>
                  <a:pt x="2530844" y="2704331"/>
                  <a:pt x="2537015" y="2700679"/>
                </a:cubicBezTo>
                <a:cubicBezTo>
                  <a:pt x="2547029" y="2696957"/>
                  <a:pt x="2553438" y="2690903"/>
                  <a:pt x="2565770" y="2687473"/>
                </a:cubicBezTo>
                <a:cubicBezTo>
                  <a:pt x="2577259" y="2686825"/>
                  <a:pt x="2585555" y="2682304"/>
                  <a:pt x="2600276" y="2680869"/>
                </a:cubicBezTo>
                <a:cubicBezTo>
                  <a:pt x="2644916" y="2682744"/>
                  <a:pt x="2680945" y="2674344"/>
                  <a:pt x="2738298" y="2674266"/>
                </a:cubicBezTo>
                <a:cubicBezTo>
                  <a:pt x="2758212" y="2676575"/>
                  <a:pt x="2793682" y="2664100"/>
                  <a:pt x="2818811" y="2667664"/>
                </a:cubicBezTo>
                <a:cubicBezTo>
                  <a:pt x="2865265" y="2630565"/>
                  <a:pt x="2839327" y="2668330"/>
                  <a:pt x="2899325" y="2608236"/>
                </a:cubicBezTo>
                <a:cubicBezTo>
                  <a:pt x="2905040" y="2603913"/>
                  <a:pt x="2911869" y="2598329"/>
                  <a:pt x="2916577" y="2595029"/>
                </a:cubicBezTo>
                <a:cubicBezTo>
                  <a:pt x="2923929" y="2591152"/>
                  <a:pt x="2933487" y="2588783"/>
                  <a:pt x="2939581" y="2581823"/>
                </a:cubicBezTo>
                <a:cubicBezTo>
                  <a:pt x="2953202" y="2570633"/>
                  <a:pt x="2959529" y="2558731"/>
                  <a:pt x="2974087" y="2548808"/>
                </a:cubicBezTo>
                <a:cubicBezTo>
                  <a:pt x="2983944" y="2542683"/>
                  <a:pt x="2995576" y="2542293"/>
                  <a:pt x="3002842" y="2535602"/>
                </a:cubicBezTo>
                <a:cubicBezTo>
                  <a:pt x="3029903" y="2518623"/>
                  <a:pt x="3044236" y="2506972"/>
                  <a:pt x="3066102" y="2495982"/>
                </a:cubicBezTo>
                <a:cubicBezTo>
                  <a:pt x="3086349" y="2489985"/>
                  <a:pt x="3104216" y="2493835"/>
                  <a:pt x="3117860" y="2489379"/>
                </a:cubicBezTo>
                <a:cubicBezTo>
                  <a:pt x="3151011" y="2477341"/>
                  <a:pt x="3178234" y="2470374"/>
                  <a:pt x="3204125" y="2462966"/>
                </a:cubicBezTo>
                <a:cubicBezTo>
                  <a:pt x="3214249" y="2459429"/>
                  <a:pt x="3284862" y="2449874"/>
                  <a:pt x="3290389" y="2449760"/>
                </a:cubicBezTo>
                <a:cubicBezTo>
                  <a:pt x="3392083" y="2430672"/>
                  <a:pt x="3439067" y="2471897"/>
                  <a:pt x="3514676" y="2456363"/>
                </a:cubicBezTo>
                <a:cubicBezTo>
                  <a:pt x="3530573" y="2458551"/>
                  <a:pt x="3545780" y="2459460"/>
                  <a:pt x="3560683" y="2462966"/>
                </a:cubicBezTo>
                <a:cubicBezTo>
                  <a:pt x="3576049" y="2466201"/>
                  <a:pt x="3590701" y="2473265"/>
                  <a:pt x="3612442" y="2482776"/>
                </a:cubicBezTo>
                <a:cubicBezTo>
                  <a:pt x="3618067" y="2486834"/>
                  <a:pt x="3622344" y="2492164"/>
                  <a:pt x="3629694" y="2495982"/>
                </a:cubicBezTo>
                <a:cubicBezTo>
                  <a:pt x="3652411" y="2503080"/>
                  <a:pt x="3767142" y="2509129"/>
                  <a:pt x="3767717" y="2509189"/>
                </a:cubicBezTo>
                <a:cubicBezTo>
                  <a:pt x="3991411" y="2503156"/>
                  <a:pt x="4181615" y="2542224"/>
                  <a:pt x="4291053" y="2502586"/>
                </a:cubicBezTo>
                <a:cubicBezTo>
                  <a:pt x="4322700" y="2501266"/>
                  <a:pt x="4317148" y="2488730"/>
                  <a:pt x="4348562" y="2476173"/>
                </a:cubicBezTo>
                <a:cubicBezTo>
                  <a:pt x="4357516" y="2472027"/>
                  <a:pt x="4397460" y="2465193"/>
                  <a:pt x="4406072" y="2462966"/>
                </a:cubicBezTo>
                <a:cubicBezTo>
                  <a:pt x="4413987" y="2459241"/>
                  <a:pt x="4422448" y="2455032"/>
                  <a:pt x="4429076" y="2449760"/>
                </a:cubicBezTo>
                <a:cubicBezTo>
                  <a:pt x="4447173" y="2435237"/>
                  <a:pt x="4458215" y="2418187"/>
                  <a:pt x="4475083" y="2410142"/>
                </a:cubicBezTo>
                <a:cubicBezTo>
                  <a:pt x="4499267" y="2399321"/>
                  <a:pt x="4511890" y="2395795"/>
                  <a:pt x="4532592" y="2377126"/>
                </a:cubicBezTo>
                <a:cubicBezTo>
                  <a:pt x="4558779" y="2339151"/>
                  <a:pt x="4516562" y="2375193"/>
                  <a:pt x="4567098" y="2330904"/>
                </a:cubicBezTo>
                <a:cubicBezTo>
                  <a:pt x="4580759" y="2319629"/>
                  <a:pt x="4606134" y="2303711"/>
                  <a:pt x="4618857" y="2297889"/>
                </a:cubicBezTo>
                <a:cubicBezTo>
                  <a:pt x="4633877" y="2267491"/>
                  <a:pt x="4644928" y="2256416"/>
                  <a:pt x="4653362" y="2238460"/>
                </a:cubicBezTo>
                <a:cubicBezTo>
                  <a:pt x="4658750" y="2230723"/>
                  <a:pt x="4660577" y="2224270"/>
                  <a:pt x="4664864" y="2218651"/>
                </a:cubicBezTo>
                <a:cubicBezTo>
                  <a:pt x="4682130" y="2149712"/>
                  <a:pt x="4686079" y="2205622"/>
                  <a:pt x="4699370" y="2139413"/>
                </a:cubicBezTo>
                <a:cubicBezTo>
                  <a:pt x="4717955" y="2091586"/>
                  <a:pt x="4706052" y="2130077"/>
                  <a:pt x="4722374" y="2093191"/>
                </a:cubicBezTo>
                <a:cubicBezTo>
                  <a:pt x="4726543" y="2078370"/>
                  <a:pt x="4726282" y="2055220"/>
                  <a:pt x="4733876" y="2040367"/>
                </a:cubicBezTo>
                <a:cubicBezTo>
                  <a:pt x="4736890" y="2027785"/>
                  <a:pt x="4738294" y="2016074"/>
                  <a:pt x="4739626" y="2000747"/>
                </a:cubicBezTo>
                <a:cubicBezTo>
                  <a:pt x="4741027" y="1988732"/>
                  <a:pt x="4747871" y="1981790"/>
                  <a:pt x="4751128" y="1974335"/>
                </a:cubicBezTo>
                <a:cubicBezTo>
                  <a:pt x="4753834" y="1963410"/>
                  <a:pt x="4753370" y="1958389"/>
                  <a:pt x="4756879" y="1947923"/>
                </a:cubicBezTo>
                <a:cubicBezTo>
                  <a:pt x="4757673" y="1942824"/>
                  <a:pt x="4760921" y="1935164"/>
                  <a:pt x="4762630" y="1928114"/>
                </a:cubicBezTo>
                <a:cubicBezTo>
                  <a:pt x="4764737" y="1915861"/>
                  <a:pt x="4764484" y="1896362"/>
                  <a:pt x="4768381" y="1881891"/>
                </a:cubicBezTo>
                <a:cubicBezTo>
                  <a:pt x="4771935" y="1873924"/>
                  <a:pt x="4777563" y="1869862"/>
                  <a:pt x="4779883" y="1862082"/>
                </a:cubicBezTo>
                <a:cubicBezTo>
                  <a:pt x="4786072" y="1773037"/>
                  <a:pt x="4777962" y="1780974"/>
                  <a:pt x="4768381" y="1723417"/>
                </a:cubicBezTo>
                <a:cubicBezTo>
                  <a:pt x="4757587" y="1659268"/>
                  <a:pt x="4770036" y="1687193"/>
                  <a:pt x="4756879" y="1657385"/>
                </a:cubicBezTo>
                <a:cubicBezTo>
                  <a:pt x="4759817" y="1633273"/>
                  <a:pt x="4753821" y="1608820"/>
                  <a:pt x="4751128" y="1578148"/>
                </a:cubicBezTo>
                <a:cubicBezTo>
                  <a:pt x="4751847" y="1566105"/>
                  <a:pt x="4744568" y="1554275"/>
                  <a:pt x="4745377" y="1545132"/>
                </a:cubicBezTo>
                <a:cubicBezTo>
                  <a:pt x="4745319" y="1488780"/>
                  <a:pt x="4761715" y="1430347"/>
                  <a:pt x="4751128" y="1360245"/>
                </a:cubicBezTo>
                <a:cubicBezTo>
                  <a:pt x="4754253" y="1348498"/>
                  <a:pt x="4756462" y="1337784"/>
                  <a:pt x="4756879" y="1327229"/>
                </a:cubicBezTo>
                <a:cubicBezTo>
                  <a:pt x="4759434" y="1319355"/>
                  <a:pt x="4763896" y="1291066"/>
                  <a:pt x="4768381" y="1281006"/>
                </a:cubicBezTo>
                <a:cubicBezTo>
                  <a:pt x="4771171" y="1274205"/>
                  <a:pt x="4776747" y="1269248"/>
                  <a:pt x="4779883" y="1261198"/>
                </a:cubicBezTo>
                <a:cubicBezTo>
                  <a:pt x="4782652" y="1250125"/>
                  <a:pt x="4779722" y="1242946"/>
                  <a:pt x="4785634" y="1234785"/>
                </a:cubicBezTo>
                <a:cubicBezTo>
                  <a:pt x="4791817" y="1220589"/>
                  <a:pt x="4808638" y="1195166"/>
                  <a:pt x="4808638" y="1195166"/>
                </a:cubicBezTo>
                <a:cubicBezTo>
                  <a:pt x="4820942" y="1125087"/>
                  <a:pt x="4797315" y="1197980"/>
                  <a:pt x="4831642" y="1155548"/>
                </a:cubicBezTo>
                <a:cubicBezTo>
                  <a:pt x="4834452" y="1150482"/>
                  <a:pt x="4835836" y="1142631"/>
                  <a:pt x="4837392" y="1135738"/>
                </a:cubicBezTo>
                <a:cubicBezTo>
                  <a:pt x="4843747" y="1124566"/>
                  <a:pt x="4850416" y="1119369"/>
                  <a:pt x="4854645" y="1109326"/>
                </a:cubicBezTo>
                <a:cubicBezTo>
                  <a:pt x="4863284" y="1092321"/>
                  <a:pt x="4877649" y="1056500"/>
                  <a:pt x="4877649" y="1056500"/>
                </a:cubicBezTo>
                <a:cubicBezTo>
                  <a:pt x="4880934" y="969331"/>
                  <a:pt x="4864120" y="1057549"/>
                  <a:pt x="4894902" y="1003676"/>
                </a:cubicBezTo>
                <a:cubicBezTo>
                  <a:pt x="4927540" y="929269"/>
                  <a:pt x="4896731" y="1007703"/>
                  <a:pt x="4917906" y="950850"/>
                </a:cubicBezTo>
                <a:cubicBezTo>
                  <a:pt x="4926371" y="936364"/>
                  <a:pt x="4927995" y="921492"/>
                  <a:pt x="4929408" y="904629"/>
                </a:cubicBezTo>
                <a:cubicBezTo>
                  <a:pt x="4934212" y="878427"/>
                  <a:pt x="4940909" y="825392"/>
                  <a:pt x="4940909" y="825391"/>
                </a:cubicBezTo>
                <a:cubicBezTo>
                  <a:pt x="4936658" y="781953"/>
                  <a:pt x="4932066" y="733291"/>
                  <a:pt x="4935159" y="680123"/>
                </a:cubicBezTo>
                <a:cubicBezTo>
                  <a:pt x="4935158" y="671002"/>
                  <a:pt x="4896074" y="598741"/>
                  <a:pt x="4894902" y="594281"/>
                </a:cubicBezTo>
                <a:cubicBezTo>
                  <a:pt x="4850692" y="544531"/>
                  <a:pt x="4897282" y="610572"/>
                  <a:pt x="4860396" y="528250"/>
                </a:cubicBezTo>
                <a:cubicBezTo>
                  <a:pt x="4855248" y="514985"/>
                  <a:pt x="4851901" y="500830"/>
                  <a:pt x="4843143" y="495234"/>
                </a:cubicBezTo>
                <a:cubicBezTo>
                  <a:pt x="4833968" y="486753"/>
                  <a:pt x="4815922" y="479211"/>
                  <a:pt x="4808638" y="468822"/>
                </a:cubicBezTo>
                <a:cubicBezTo>
                  <a:pt x="4718764" y="403090"/>
                  <a:pt x="4828995" y="507835"/>
                  <a:pt x="4756879" y="415997"/>
                </a:cubicBezTo>
                <a:cubicBezTo>
                  <a:pt x="4716210" y="377039"/>
                  <a:pt x="4684240" y="365365"/>
                  <a:pt x="4647611" y="330157"/>
                </a:cubicBezTo>
                <a:cubicBezTo>
                  <a:pt x="4617973" y="292579"/>
                  <a:pt x="4638435" y="306676"/>
                  <a:pt x="4601604" y="297141"/>
                </a:cubicBezTo>
                <a:cubicBezTo>
                  <a:pt x="4598787" y="291958"/>
                  <a:pt x="4595327" y="282665"/>
                  <a:pt x="4590102" y="277331"/>
                </a:cubicBezTo>
                <a:cubicBezTo>
                  <a:pt x="4570739" y="264344"/>
                  <a:pt x="4554246" y="261697"/>
                  <a:pt x="4532592" y="257522"/>
                </a:cubicBezTo>
                <a:cubicBezTo>
                  <a:pt x="4448306" y="205327"/>
                  <a:pt x="4549147" y="263523"/>
                  <a:pt x="4475083" y="231109"/>
                </a:cubicBezTo>
                <a:cubicBezTo>
                  <a:pt x="4470593" y="219849"/>
                  <a:pt x="4387299" y="179561"/>
                  <a:pt x="4360064" y="171681"/>
                </a:cubicBezTo>
                <a:cubicBezTo>
                  <a:pt x="4345268" y="165940"/>
                  <a:pt x="4321913" y="162537"/>
                  <a:pt x="4308306" y="158475"/>
                </a:cubicBezTo>
                <a:cubicBezTo>
                  <a:pt x="4194396" y="188447"/>
                  <a:pt x="3984969" y="112194"/>
                  <a:pt x="3773890" y="163141"/>
                </a:cubicBezTo>
                <a:cubicBezTo>
                  <a:pt x="3562811" y="214088"/>
                  <a:pt x="3447123" y="160566"/>
                  <a:pt x="3299974" y="167279"/>
                </a:cubicBezTo>
                <a:cubicBezTo>
                  <a:pt x="3152825" y="173992"/>
                  <a:pt x="2993656" y="141437"/>
                  <a:pt x="2795808" y="171681"/>
                </a:cubicBezTo>
                <a:cubicBezTo>
                  <a:pt x="2783040" y="170439"/>
                  <a:pt x="2767346" y="176089"/>
                  <a:pt x="2755551" y="178285"/>
                </a:cubicBezTo>
                <a:cubicBezTo>
                  <a:pt x="2708699" y="187161"/>
                  <a:pt x="2663993" y="184497"/>
                  <a:pt x="2606026" y="184888"/>
                </a:cubicBezTo>
                <a:cubicBezTo>
                  <a:pt x="2362142" y="236686"/>
                  <a:pt x="2207924" y="172756"/>
                  <a:pt x="2076940" y="198094"/>
                </a:cubicBezTo>
                <a:cubicBezTo>
                  <a:pt x="2062302" y="202322"/>
                  <a:pt x="2036922" y="203939"/>
                  <a:pt x="2019430" y="211301"/>
                </a:cubicBezTo>
                <a:cubicBezTo>
                  <a:pt x="2010390" y="215538"/>
                  <a:pt x="1995965" y="219098"/>
                  <a:pt x="1984925" y="224506"/>
                </a:cubicBezTo>
                <a:cubicBezTo>
                  <a:pt x="1952525" y="238559"/>
                  <a:pt x="1987177" y="262490"/>
                  <a:pt x="1979174" y="264125"/>
                </a:cubicBezTo>
                <a:close/>
              </a:path>
            </a:pathLst>
          </a:custGeom>
          <a:noFill/>
          <a:ln w="28575">
            <a:solidFill>
              <a:srgbClr val="00B050"/>
            </a:solidFill>
            <a:extLst>
              <a:ext uri="{C807C97D-BFC1-408E-A445-0C87EB9F89A2}">
                <ask:lineSketchStyleProps xmlns:ask="http://schemas.microsoft.com/office/drawing/2018/sketchyshapes" sd="1219033472">
                  <a:custGeom>
                    <a:avLst/>
                    <a:gdLst>
                      <a:gd name="connsiteX0" fmla="*/ 1979174 w 4940909"/>
                      <a:gd name="connsiteY0" fmla="*/ 230038 h 2582174"/>
                      <a:gd name="connsiteX1" fmla="*/ 1944668 w 4940909"/>
                      <a:gd name="connsiteY1" fmla="*/ 207034 h 2582174"/>
                      <a:gd name="connsiteX2" fmla="*/ 1927415 w 4940909"/>
                      <a:gd name="connsiteY2" fmla="*/ 189782 h 2582174"/>
                      <a:gd name="connsiteX3" fmla="*/ 1881408 w 4940909"/>
                      <a:gd name="connsiteY3" fmla="*/ 166778 h 2582174"/>
                      <a:gd name="connsiteX4" fmla="*/ 1818147 w 4940909"/>
                      <a:gd name="connsiteY4" fmla="*/ 132272 h 2582174"/>
                      <a:gd name="connsiteX5" fmla="*/ 1760638 w 4940909"/>
                      <a:gd name="connsiteY5" fmla="*/ 109268 h 2582174"/>
                      <a:gd name="connsiteX6" fmla="*/ 1657121 w 4940909"/>
                      <a:gd name="connsiteY6" fmla="*/ 86265 h 2582174"/>
                      <a:gd name="connsiteX7" fmla="*/ 1611113 w 4940909"/>
                      <a:gd name="connsiteY7" fmla="*/ 74763 h 2582174"/>
                      <a:gd name="connsiteX8" fmla="*/ 1507596 w 4940909"/>
                      <a:gd name="connsiteY8" fmla="*/ 57510 h 2582174"/>
                      <a:gd name="connsiteX9" fmla="*/ 1352321 w 4940909"/>
                      <a:gd name="connsiteY9" fmla="*/ 40257 h 2582174"/>
                      <a:gd name="connsiteX10" fmla="*/ 1294811 w 4940909"/>
                      <a:gd name="connsiteY10" fmla="*/ 28755 h 2582174"/>
                      <a:gd name="connsiteX11" fmla="*/ 1225800 w 4940909"/>
                      <a:gd name="connsiteY11" fmla="*/ 17253 h 2582174"/>
                      <a:gd name="connsiteX12" fmla="*/ 949755 w 4940909"/>
                      <a:gd name="connsiteY12" fmla="*/ 0 h 2582174"/>
                      <a:gd name="connsiteX13" fmla="*/ 426419 w 4940909"/>
                      <a:gd name="connsiteY13" fmla="*/ 11502 h 2582174"/>
                      <a:gd name="connsiteX14" fmla="*/ 363159 w 4940909"/>
                      <a:gd name="connsiteY14" fmla="*/ 28755 h 2582174"/>
                      <a:gd name="connsiteX15" fmla="*/ 305649 w 4940909"/>
                      <a:gd name="connsiteY15" fmla="*/ 46008 h 2582174"/>
                      <a:gd name="connsiteX16" fmla="*/ 265392 w 4940909"/>
                      <a:gd name="connsiteY16" fmla="*/ 63261 h 2582174"/>
                      <a:gd name="connsiteX17" fmla="*/ 230887 w 4940909"/>
                      <a:gd name="connsiteY17" fmla="*/ 86265 h 2582174"/>
                      <a:gd name="connsiteX18" fmla="*/ 213634 w 4940909"/>
                      <a:gd name="connsiteY18" fmla="*/ 103517 h 2582174"/>
                      <a:gd name="connsiteX19" fmla="*/ 167626 w 4940909"/>
                      <a:gd name="connsiteY19" fmla="*/ 132272 h 2582174"/>
                      <a:gd name="connsiteX20" fmla="*/ 144623 w 4940909"/>
                      <a:gd name="connsiteY20" fmla="*/ 161027 h 2582174"/>
                      <a:gd name="connsiteX21" fmla="*/ 121619 w 4940909"/>
                      <a:gd name="connsiteY21" fmla="*/ 178280 h 2582174"/>
                      <a:gd name="connsiteX22" fmla="*/ 115868 w 4940909"/>
                      <a:gd name="connsiteY22" fmla="*/ 195532 h 2582174"/>
                      <a:gd name="connsiteX23" fmla="*/ 87113 w 4940909"/>
                      <a:gd name="connsiteY23" fmla="*/ 235789 h 2582174"/>
                      <a:gd name="connsiteX24" fmla="*/ 81362 w 4940909"/>
                      <a:gd name="connsiteY24" fmla="*/ 253042 h 2582174"/>
                      <a:gd name="connsiteX25" fmla="*/ 41106 w 4940909"/>
                      <a:gd name="connsiteY25" fmla="*/ 339306 h 2582174"/>
                      <a:gd name="connsiteX26" fmla="*/ 35355 w 4940909"/>
                      <a:gd name="connsiteY26" fmla="*/ 368061 h 2582174"/>
                      <a:gd name="connsiteX27" fmla="*/ 29604 w 4940909"/>
                      <a:gd name="connsiteY27" fmla="*/ 408317 h 2582174"/>
                      <a:gd name="connsiteX28" fmla="*/ 18102 w 4940909"/>
                      <a:gd name="connsiteY28" fmla="*/ 425570 h 2582174"/>
                      <a:gd name="connsiteX29" fmla="*/ 6600 w 4940909"/>
                      <a:gd name="connsiteY29" fmla="*/ 621102 h 2582174"/>
                      <a:gd name="connsiteX30" fmla="*/ 12351 w 4940909"/>
                      <a:gd name="connsiteY30" fmla="*/ 638355 h 2582174"/>
                      <a:gd name="connsiteX31" fmla="*/ 23853 w 4940909"/>
                      <a:gd name="connsiteY31" fmla="*/ 661359 h 2582174"/>
                      <a:gd name="connsiteX32" fmla="*/ 41106 w 4940909"/>
                      <a:gd name="connsiteY32" fmla="*/ 690114 h 2582174"/>
                      <a:gd name="connsiteX33" fmla="*/ 52608 w 4940909"/>
                      <a:gd name="connsiteY33" fmla="*/ 724619 h 2582174"/>
                      <a:gd name="connsiteX34" fmla="*/ 75611 w 4940909"/>
                      <a:gd name="connsiteY34" fmla="*/ 782129 h 2582174"/>
                      <a:gd name="connsiteX35" fmla="*/ 87113 w 4940909"/>
                      <a:gd name="connsiteY35" fmla="*/ 828136 h 2582174"/>
                      <a:gd name="connsiteX36" fmla="*/ 92864 w 4940909"/>
                      <a:gd name="connsiteY36" fmla="*/ 856891 h 2582174"/>
                      <a:gd name="connsiteX37" fmla="*/ 104366 w 4940909"/>
                      <a:gd name="connsiteY37" fmla="*/ 879895 h 2582174"/>
                      <a:gd name="connsiteX38" fmla="*/ 127370 w 4940909"/>
                      <a:gd name="connsiteY38" fmla="*/ 1086929 h 2582174"/>
                      <a:gd name="connsiteX39" fmla="*/ 144623 w 4940909"/>
                      <a:gd name="connsiteY39" fmla="*/ 1253706 h 2582174"/>
                      <a:gd name="connsiteX40" fmla="*/ 150374 w 4940909"/>
                      <a:gd name="connsiteY40" fmla="*/ 1702280 h 2582174"/>
                      <a:gd name="connsiteX41" fmla="*/ 173377 w 4940909"/>
                      <a:gd name="connsiteY41" fmla="*/ 1851804 h 2582174"/>
                      <a:gd name="connsiteX42" fmla="*/ 190630 w 4940909"/>
                      <a:gd name="connsiteY42" fmla="*/ 1984076 h 2582174"/>
                      <a:gd name="connsiteX43" fmla="*/ 202132 w 4940909"/>
                      <a:gd name="connsiteY43" fmla="*/ 2064589 h 2582174"/>
                      <a:gd name="connsiteX44" fmla="*/ 225136 w 4940909"/>
                      <a:gd name="connsiteY44" fmla="*/ 2173857 h 2582174"/>
                      <a:gd name="connsiteX45" fmla="*/ 242389 w 4940909"/>
                      <a:gd name="connsiteY45" fmla="*/ 2260121 h 2582174"/>
                      <a:gd name="connsiteX46" fmla="*/ 271143 w 4940909"/>
                      <a:gd name="connsiteY46" fmla="*/ 2311880 h 2582174"/>
                      <a:gd name="connsiteX47" fmla="*/ 305649 w 4940909"/>
                      <a:gd name="connsiteY47" fmla="*/ 2357887 h 2582174"/>
                      <a:gd name="connsiteX48" fmla="*/ 340155 w 4940909"/>
                      <a:gd name="connsiteY48" fmla="*/ 2386642 h 2582174"/>
                      <a:gd name="connsiteX49" fmla="*/ 351657 w 4940909"/>
                      <a:gd name="connsiteY49" fmla="*/ 2403895 h 2582174"/>
                      <a:gd name="connsiteX50" fmla="*/ 409166 w 4940909"/>
                      <a:gd name="connsiteY50" fmla="*/ 2438400 h 2582174"/>
                      <a:gd name="connsiteX51" fmla="*/ 460925 w 4940909"/>
                      <a:gd name="connsiteY51" fmla="*/ 2467155 h 2582174"/>
                      <a:gd name="connsiteX52" fmla="*/ 483928 w 4940909"/>
                      <a:gd name="connsiteY52" fmla="*/ 2484408 h 2582174"/>
                      <a:gd name="connsiteX53" fmla="*/ 524185 w 4940909"/>
                      <a:gd name="connsiteY53" fmla="*/ 2501661 h 2582174"/>
                      <a:gd name="connsiteX54" fmla="*/ 610449 w 4940909"/>
                      <a:gd name="connsiteY54" fmla="*/ 2547668 h 2582174"/>
                      <a:gd name="connsiteX55" fmla="*/ 639204 w 4940909"/>
                      <a:gd name="connsiteY55" fmla="*/ 2553419 h 2582174"/>
                      <a:gd name="connsiteX56" fmla="*/ 679460 w 4940909"/>
                      <a:gd name="connsiteY56" fmla="*/ 2570672 h 2582174"/>
                      <a:gd name="connsiteX57" fmla="*/ 696713 w 4940909"/>
                      <a:gd name="connsiteY57" fmla="*/ 2582174 h 2582174"/>
                      <a:gd name="connsiteX58" fmla="*/ 1070525 w 4940909"/>
                      <a:gd name="connsiteY58" fmla="*/ 2576423 h 2582174"/>
                      <a:gd name="connsiteX59" fmla="*/ 1116532 w 4940909"/>
                      <a:gd name="connsiteY59" fmla="*/ 2564921 h 2582174"/>
                      <a:gd name="connsiteX60" fmla="*/ 1139536 w 4940909"/>
                      <a:gd name="connsiteY60" fmla="*/ 2553419 h 2582174"/>
                      <a:gd name="connsiteX61" fmla="*/ 1174042 w 4940909"/>
                      <a:gd name="connsiteY61" fmla="*/ 2547668 h 2582174"/>
                      <a:gd name="connsiteX62" fmla="*/ 1191294 w 4940909"/>
                      <a:gd name="connsiteY62" fmla="*/ 2536166 h 2582174"/>
                      <a:gd name="connsiteX63" fmla="*/ 1231551 w 4940909"/>
                      <a:gd name="connsiteY63" fmla="*/ 2518914 h 2582174"/>
                      <a:gd name="connsiteX64" fmla="*/ 1277559 w 4940909"/>
                      <a:gd name="connsiteY64" fmla="*/ 2501661 h 2582174"/>
                      <a:gd name="connsiteX65" fmla="*/ 1335068 w 4940909"/>
                      <a:gd name="connsiteY65" fmla="*/ 2478657 h 2582174"/>
                      <a:gd name="connsiteX66" fmla="*/ 1375325 w 4940909"/>
                      <a:gd name="connsiteY66" fmla="*/ 2455653 h 2582174"/>
                      <a:gd name="connsiteX67" fmla="*/ 1432834 w 4940909"/>
                      <a:gd name="connsiteY67" fmla="*/ 2432649 h 2582174"/>
                      <a:gd name="connsiteX68" fmla="*/ 1450087 w 4940909"/>
                      <a:gd name="connsiteY68" fmla="*/ 2421148 h 2582174"/>
                      <a:gd name="connsiteX69" fmla="*/ 1473091 w 4940909"/>
                      <a:gd name="connsiteY69" fmla="*/ 2415397 h 2582174"/>
                      <a:gd name="connsiteX70" fmla="*/ 1524849 w 4940909"/>
                      <a:gd name="connsiteY70" fmla="*/ 2398144 h 2582174"/>
                      <a:gd name="connsiteX71" fmla="*/ 1524849 w 4940909"/>
                      <a:gd name="connsiteY71" fmla="*/ 2398144 h 2582174"/>
                      <a:gd name="connsiteX72" fmla="*/ 1588109 w 4940909"/>
                      <a:gd name="connsiteY72" fmla="*/ 2369389 h 2582174"/>
                      <a:gd name="connsiteX73" fmla="*/ 1611113 w 4940909"/>
                      <a:gd name="connsiteY73" fmla="*/ 2363638 h 2582174"/>
                      <a:gd name="connsiteX74" fmla="*/ 1639868 w 4940909"/>
                      <a:gd name="connsiteY74" fmla="*/ 2352136 h 2582174"/>
                      <a:gd name="connsiteX75" fmla="*/ 1657121 w 4940909"/>
                      <a:gd name="connsiteY75" fmla="*/ 2346385 h 2582174"/>
                      <a:gd name="connsiteX76" fmla="*/ 1674374 w 4940909"/>
                      <a:gd name="connsiteY76" fmla="*/ 2334883 h 2582174"/>
                      <a:gd name="connsiteX77" fmla="*/ 1961921 w 4940909"/>
                      <a:gd name="connsiteY77" fmla="*/ 2346385 h 2582174"/>
                      <a:gd name="connsiteX78" fmla="*/ 2036683 w 4940909"/>
                      <a:gd name="connsiteY78" fmla="*/ 2357887 h 2582174"/>
                      <a:gd name="connsiteX79" fmla="*/ 2347234 w 4940909"/>
                      <a:gd name="connsiteY79" fmla="*/ 2363638 h 2582174"/>
                      <a:gd name="connsiteX80" fmla="*/ 2519762 w 4940909"/>
                      <a:gd name="connsiteY80" fmla="*/ 2357887 h 2582174"/>
                      <a:gd name="connsiteX81" fmla="*/ 2537015 w 4940909"/>
                      <a:gd name="connsiteY81" fmla="*/ 2352136 h 2582174"/>
                      <a:gd name="connsiteX82" fmla="*/ 2565770 w 4940909"/>
                      <a:gd name="connsiteY82" fmla="*/ 2340634 h 2582174"/>
                      <a:gd name="connsiteX83" fmla="*/ 2600276 w 4940909"/>
                      <a:gd name="connsiteY83" fmla="*/ 2334883 h 2582174"/>
                      <a:gd name="connsiteX84" fmla="*/ 2738298 w 4940909"/>
                      <a:gd name="connsiteY84" fmla="*/ 2329132 h 2582174"/>
                      <a:gd name="connsiteX85" fmla="*/ 2818811 w 4940909"/>
                      <a:gd name="connsiteY85" fmla="*/ 2323382 h 2582174"/>
                      <a:gd name="connsiteX86" fmla="*/ 2899325 w 4940909"/>
                      <a:gd name="connsiteY86" fmla="*/ 2271623 h 2582174"/>
                      <a:gd name="connsiteX87" fmla="*/ 2916577 w 4940909"/>
                      <a:gd name="connsiteY87" fmla="*/ 2260121 h 2582174"/>
                      <a:gd name="connsiteX88" fmla="*/ 2939581 w 4940909"/>
                      <a:gd name="connsiteY88" fmla="*/ 2248619 h 2582174"/>
                      <a:gd name="connsiteX89" fmla="*/ 2974087 w 4940909"/>
                      <a:gd name="connsiteY89" fmla="*/ 2219865 h 2582174"/>
                      <a:gd name="connsiteX90" fmla="*/ 3002842 w 4940909"/>
                      <a:gd name="connsiteY90" fmla="*/ 2208363 h 2582174"/>
                      <a:gd name="connsiteX91" fmla="*/ 3066102 w 4940909"/>
                      <a:gd name="connsiteY91" fmla="*/ 2173857 h 2582174"/>
                      <a:gd name="connsiteX92" fmla="*/ 3117860 w 4940909"/>
                      <a:gd name="connsiteY92" fmla="*/ 2168106 h 2582174"/>
                      <a:gd name="connsiteX93" fmla="*/ 3204125 w 4940909"/>
                      <a:gd name="connsiteY93" fmla="*/ 2145102 h 2582174"/>
                      <a:gd name="connsiteX94" fmla="*/ 3290389 w 4940909"/>
                      <a:gd name="connsiteY94" fmla="*/ 2133600 h 2582174"/>
                      <a:gd name="connsiteX95" fmla="*/ 3514676 w 4940909"/>
                      <a:gd name="connsiteY95" fmla="*/ 2139351 h 2582174"/>
                      <a:gd name="connsiteX96" fmla="*/ 3560683 w 4940909"/>
                      <a:gd name="connsiteY96" fmla="*/ 2145102 h 2582174"/>
                      <a:gd name="connsiteX97" fmla="*/ 3612442 w 4940909"/>
                      <a:gd name="connsiteY97" fmla="*/ 2162355 h 2582174"/>
                      <a:gd name="connsiteX98" fmla="*/ 3629694 w 4940909"/>
                      <a:gd name="connsiteY98" fmla="*/ 2173857 h 2582174"/>
                      <a:gd name="connsiteX99" fmla="*/ 3767717 w 4940909"/>
                      <a:gd name="connsiteY99" fmla="*/ 2185359 h 2582174"/>
                      <a:gd name="connsiteX100" fmla="*/ 4291053 w 4940909"/>
                      <a:gd name="connsiteY100" fmla="*/ 2179608 h 2582174"/>
                      <a:gd name="connsiteX101" fmla="*/ 4348562 w 4940909"/>
                      <a:gd name="connsiteY101" fmla="*/ 2156604 h 2582174"/>
                      <a:gd name="connsiteX102" fmla="*/ 4406072 w 4940909"/>
                      <a:gd name="connsiteY102" fmla="*/ 2145102 h 2582174"/>
                      <a:gd name="connsiteX103" fmla="*/ 4429076 w 4940909"/>
                      <a:gd name="connsiteY103" fmla="*/ 2133600 h 2582174"/>
                      <a:gd name="connsiteX104" fmla="*/ 4475083 w 4940909"/>
                      <a:gd name="connsiteY104" fmla="*/ 2099095 h 2582174"/>
                      <a:gd name="connsiteX105" fmla="*/ 4532592 w 4940909"/>
                      <a:gd name="connsiteY105" fmla="*/ 2070340 h 2582174"/>
                      <a:gd name="connsiteX106" fmla="*/ 4567098 w 4940909"/>
                      <a:gd name="connsiteY106" fmla="*/ 2030083 h 2582174"/>
                      <a:gd name="connsiteX107" fmla="*/ 4618857 w 4940909"/>
                      <a:gd name="connsiteY107" fmla="*/ 2001329 h 2582174"/>
                      <a:gd name="connsiteX108" fmla="*/ 4653362 w 4940909"/>
                      <a:gd name="connsiteY108" fmla="*/ 1949570 h 2582174"/>
                      <a:gd name="connsiteX109" fmla="*/ 4664864 w 4940909"/>
                      <a:gd name="connsiteY109" fmla="*/ 1932317 h 2582174"/>
                      <a:gd name="connsiteX110" fmla="*/ 4699370 w 4940909"/>
                      <a:gd name="connsiteY110" fmla="*/ 1863306 h 2582174"/>
                      <a:gd name="connsiteX111" fmla="*/ 4722374 w 4940909"/>
                      <a:gd name="connsiteY111" fmla="*/ 1823049 h 2582174"/>
                      <a:gd name="connsiteX112" fmla="*/ 4733876 w 4940909"/>
                      <a:gd name="connsiteY112" fmla="*/ 1777042 h 2582174"/>
                      <a:gd name="connsiteX113" fmla="*/ 4739626 w 4940909"/>
                      <a:gd name="connsiteY113" fmla="*/ 1742536 h 2582174"/>
                      <a:gd name="connsiteX114" fmla="*/ 4751128 w 4940909"/>
                      <a:gd name="connsiteY114" fmla="*/ 1719532 h 2582174"/>
                      <a:gd name="connsiteX115" fmla="*/ 4756879 w 4940909"/>
                      <a:gd name="connsiteY115" fmla="*/ 1696529 h 2582174"/>
                      <a:gd name="connsiteX116" fmla="*/ 4762630 w 4940909"/>
                      <a:gd name="connsiteY116" fmla="*/ 1679276 h 2582174"/>
                      <a:gd name="connsiteX117" fmla="*/ 4768381 w 4940909"/>
                      <a:gd name="connsiteY117" fmla="*/ 1639019 h 2582174"/>
                      <a:gd name="connsiteX118" fmla="*/ 4779883 w 4940909"/>
                      <a:gd name="connsiteY118" fmla="*/ 1621766 h 2582174"/>
                      <a:gd name="connsiteX119" fmla="*/ 4768381 w 4940909"/>
                      <a:gd name="connsiteY119" fmla="*/ 1500997 h 2582174"/>
                      <a:gd name="connsiteX120" fmla="*/ 4756879 w 4940909"/>
                      <a:gd name="connsiteY120" fmla="*/ 1443487 h 2582174"/>
                      <a:gd name="connsiteX121" fmla="*/ 4751128 w 4940909"/>
                      <a:gd name="connsiteY121" fmla="*/ 1374476 h 2582174"/>
                      <a:gd name="connsiteX122" fmla="*/ 4745377 w 4940909"/>
                      <a:gd name="connsiteY122" fmla="*/ 1345721 h 2582174"/>
                      <a:gd name="connsiteX123" fmla="*/ 4751128 w 4940909"/>
                      <a:gd name="connsiteY123" fmla="*/ 1184695 h 2582174"/>
                      <a:gd name="connsiteX124" fmla="*/ 4756879 w 4940909"/>
                      <a:gd name="connsiteY124" fmla="*/ 1155940 h 2582174"/>
                      <a:gd name="connsiteX125" fmla="*/ 4768381 w 4940909"/>
                      <a:gd name="connsiteY125" fmla="*/ 1115683 h 2582174"/>
                      <a:gd name="connsiteX126" fmla="*/ 4779883 w 4940909"/>
                      <a:gd name="connsiteY126" fmla="*/ 1098431 h 2582174"/>
                      <a:gd name="connsiteX127" fmla="*/ 4785634 w 4940909"/>
                      <a:gd name="connsiteY127" fmla="*/ 1075427 h 2582174"/>
                      <a:gd name="connsiteX128" fmla="*/ 4808638 w 4940909"/>
                      <a:gd name="connsiteY128" fmla="*/ 1040921 h 2582174"/>
                      <a:gd name="connsiteX129" fmla="*/ 4831642 w 4940909"/>
                      <a:gd name="connsiteY129" fmla="*/ 1006416 h 2582174"/>
                      <a:gd name="connsiteX130" fmla="*/ 4837392 w 4940909"/>
                      <a:gd name="connsiteY130" fmla="*/ 989163 h 2582174"/>
                      <a:gd name="connsiteX131" fmla="*/ 4854645 w 4940909"/>
                      <a:gd name="connsiteY131" fmla="*/ 966159 h 2582174"/>
                      <a:gd name="connsiteX132" fmla="*/ 4877649 w 4940909"/>
                      <a:gd name="connsiteY132" fmla="*/ 920151 h 2582174"/>
                      <a:gd name="connsiteX133" fmla="*/ 4894902 w 4940909"/>
                      <a:gd name="connsiteY133" fmla="*/ 874144 h 2582174"/>
                      <a:gd name="connsiteX134" fmla="*/ 4917906 w 4940909"/>
                      <a:gd name="connsiteY134" fmla="*/ 828136 h 2582174"/>
                      <a:gd name="connsiteX135" fmla="*/ 4929408 w 4940909"/>
                      <a:gd name="connsiteY135" fmla="*/ 787880 h 2582174"/>
                      <a:gd name="connsiteX136" fmla="*/ 4940909 w 4940909"/>
                      <a:gd name="connsiteY136" fmla="*/ 718868 h 2582174"/>
                      <a:gd name="connsiteX137" fmla="*/ 4935159 w 4940909"/>
                      <a:gd name="connsiteY137" fmla="*/ 592348 h 2582174"/>
                      <a:gd name="connsiteX138" fmla="*/ 4894902 w 4940909"/>
                      <a:gd name="connsiteY138" fmla="*/ 517585 h 2582174"/>
                      <a:gd name="connsiteX139" fmla="*/ 4860396 w 4940909"/>
                      <a:gd name="connsiteY139" fmla="*/ 460076 h 2582174"/>
                      <a:gd name="connsiteX140" fmla="*/ 4843143 w 4940909"/>
                      <a:gd name="connsiteY140" fmla="*/ 431321 h 2582174"/>
                      <a:gd name="connsiteX141" fmla="*/ 4808638 w 4940909"/>
                      <a:gd name="connsiteY141" fmla="*/ 408317 h 2582174"/>
                      <a:gd name="connsiteX142" fmla="*/ 4756879 w 4940909"/>
                      <a:gd name="connsiteY142" fmla="*/ 362310 h 2582174"/>
                      <a:gd name="connsiteX143" fmla="*/ 4647611 w 4940909"/>
                      <a:gd name="connsiteY143" fmla="*/ 287548 h 2582174"/>
                      <a:gd name="connsiteX144" fmla="*/ 4601604 w 4940909"/>
                      <a:gd name="connsiteY144" fmla="*/ 258793 h 2582174"/>
                      <a:gd name="connsiteX145" fmla="*/ 4590102 w 4940909"/>
                      <a:gd name="connsiteY145" fmla="*/ 241540 h 2582174"/>
                      <a:gd name="connsiteX146" fmla="*/ 4532592 w 4940909"/>
                      <a:gd name="connsiteY146" fmla="*/ 224287 h 2582174"/>
                      <a:gd name="connsiteX147" fmla="*/ 4475083 w 4940909"/>
                      <a:gd name="connsiteY147" fmla="*/ 201283 h 2582174"/>
                      <a:gd name="connsiteX148" fmla="*/ 4360064 w 4940909"/>
                      <a:gd name="connsiteY148" fmla="*/ 149525 h 2582174"/>
                      <a:gd name="connsiteX149" fmla="*/ 4308306 w 4940909"/>
                      <a:gd name="connsiteY149" fmla="*/ 138023 h 2582174"/>
                      <a:gd name="connsiteX150" fmla="*/ 2795808 w 4940909"/>
                      <a:gd name="connsiteY150" fmla="*/ 149525 h 2582174"/>
                      <a:gd name="connsiteX151" fmla="*/ 2755551 w 4940909"/>
                      <a:gd name="connsiteY151" fmla="*/ 155276 h 2582174"/>
                      <a:gd name="connsiteX152" fmla="*/ 2606026 w 4940909"/>
                      <a:gd name="connsiteY152" fmla="*/ 161027 h 2582174"/>
                      <a:gd name="connsiteX153" fmla="*/ 2076940 w 4940909"/>
                      <a:gd name="connsiteY153" fmla="*/ 172529 h 2582174"/>
                      <a:gd name="connsiteX154" fmla="*/ 2019430 w 4940909"/>
                      <a:gd name="connsiteY154" fmla="*/ 184031 h 2582174"/>
                      <a:gd name="connsiteX155" fmla="*/ 1984925 w 4940909"/>
                      <a:gd name="connsiteY155" fmla="*/ 195532 h 2582174"/>
                      <a:gd name="connsiteX156" fmla="*/ 1979174 w 4940909"/>
                      <a:gd name="connsiteY156" fmla="*/ 230038 h 2582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4940909" h="2582174">
                        <a:moveTo>
                          <a:pt x="1979174" y="230038"/>
                        </a:moveTo>
                        <a:cubicBezTo>
                          <a:pt x="1972465" y="231955"/>
                          <a:pt x="1955580" y="215521"/>
                          <a:pt x="1944668" y="207034"/>
                        </a:cubicBezTo>
                        <a:cubicBezTo>
                          <a:pt x="1938248" y="202041"/>
                          <a:pt x="1933921" y="194662"/>
                          <a:pt x="1927415" y="189782"/>
                        </a:cubicBezTo>
                        <a:cubicBezTo>
                          <a:pt x="1905685" y="173485"/>
                          <a:pt x="1902636" y="173854"/>
                          <a:pt x="1881408" y="166778"/>
                        </a:cubicBezTo>
                        <a:cubicBezTo>
                          <a:pt x="1776083" y="91546"/>
                          <a:pt x="1885254" y="162097"/>
                          <a:pt x="1818147" y="132272"/>
                        </a:cubicBezTo>
                        <a:cubicBezTo>
                          <a:pt x="1757377" y="105263"/>
                          <a:pt x="1821019" y="121345"/>
                          <a:pt x="1760638" y="109268"/>
                        </a:cubicBezTo>
                        <a:cubicBezTo>
                          <a:pt x="1687643" y="77986"/>
                          <a:pt x="1754176" y="101590"/>
                          <a:pt x="1657121" y="86265"/>
                        </a:cubicBezTo>
                        <a:cubicBezTo>
                          <a:pt x="1641506" y="83800"/>
                          <a:pt x="1626516" y="78318"/>
                          <a:pt x="1611113" y="74763"/>
                        </a:cubicBezTo>
                        <a:cubicBezTo>
                          <a:pt x="1577029" y="66897"/>
                          <a:pt x="1542178" y="62450"/>
                          <a:pt x="1507596" y="57510"/>
                        </a:cubicBezTo>
                        <a:cubicBezTo>
                          <a:pt x="1434368" y="28218"/>
                          <a:pt x="1510732" y="55108"/>
                          <a:pt x="1352321" y="40257"/>
                        </a:cubicBezTo>
                        <a:cubicBezTo>
                          <a:pt x="1332857" y="38432"/>
                          <a:pt x="1314045" y="32252"/>
                          <a:pt x="1294811" y="28755"/>
                        </a:cubicBezTo>
                        <a:cubicBezTo>
                          <a:pt x="1271866" y="24583"/>
                          <a:pt x="1248999" y="19632"/>
                          <a:pt x="1225800" y="17253"/>
                        </a:cubicBezTo>
                        <a:cubicBezTo>
                          <a:pt x="1131686" y="7600"/>
                          <a:pt x="1043662" y="4472"/>
                          <a:pt x="949755" y="0"/>
                        </a:cubicBezTo>
                        <a:lnTo>
                          <a:pt x="426419" y="11502"/>
                        </a:lnTo>
                        <a:cubicBezTo>
                          <a:pt x="391932" y="12569"/>
                          <a:pt x="393708" y="18572"/>
                          <a:pt x="363159" y="28755"/>
                        </a:cubicBezTo>
                        <a:cubicBezTo>
                          <a:pt x="338392" y="37011"/>
                          <a:pt x="332315" y="32675"/>
                          <a:pt x="305649" y="46008"/>
                        </a:cubicBezTo>
                        <a:cubicBezTo>
                          <a:pt x="277223" y="60221"/>
                          <a:pt x="290778" y="54799"/>
                          <a:pt x="265392" y="63261"/>
                        </a:cubicBezTo>
                        <a:cubicBezTo>
                          <a:pt x="253890" y="70929"/>
                          <a:pt x="241799" y="77778"/>
                          <a:pt x="230887" y="86265"/>
                        </a:cubicBezTo>
                        <a:cubicBezTo>
                          <a:pt x="224467" y="91258"/>
                          <a:pt x="220211" y="98734"/>
                          <a:pt x="213634" y="103517"/>
                        </a:cubicBezTo>
                        <a:cubicBezTo>
                          <a:pt x="199008" y="114154"/>
                          <a:pt x="167626" y="132272"/>
                          <a:pt x="167626" y="132272"/>
                        </a:cubicBezTo>
                        <a:cubicBezTo>
                          <a:pt x="159958" y="141857"/>
                          <a:pt x="153302" y="152347"/>
                          <a:pt x="144623" y="161027"/>
                        </a:cubicBezTo>
                        <a:cubicBezTo>
                          <a:pt x="137845" y="167805"/>
                          <a:pt x="127755" y="170917"/>
                          <a:pt x="121619" y="178280"/>
                        </a:cubicBezTo>
                        <a:cubicBezTo>
                          <a:pt x="117738" y="182937"/>
                          <a:pt x="118987" y="190334"/>
                          <a:pt x="115868" y="195532"/>
                        </a:cubicBezTo>
                        <a:cubicBezTo>
                          <a:pt x="107384" y="209673"/>
                          <a:pt x="96698" y="222370"/>
                          <a:pt x="87113" y="235789"/>
                        </a:cubicBezTo>
                        <a:cubicBezTo>
                          <a:pt x="85196" y="241540"/>
                          <a:pt x="84073" y="247620"/>
                          <a:pt x="81362" y="253042"/>
                        </a:cubicBezTo>
                        <a:cubicBezTo>
                          <a:pt x="62640" y="290486"/>
                          <a:pt x="51353" y="288070"/>
                          <a:pt x="41106" y="339306"/>
                        </a:cubicBezTo>
                        <a:cubicBezTo>
                          <a:pt x="39189" y="348891"/>
                          <a:pt x="36962" y="358419"/>
                          <a:pt x="35355" y="368061"/>
                        </a:cubicBezTo>
                        <a:cubicBezTo>
                          <a:pt x="33127" y="381431"/>
                          <a:pt x="33499" y="395334"/>
                          <a:pt x="29604" y="408317"/>
                        </a:cubicBezTo>
                        <a:cubicBezTo>
                          <a:pt x="27618" y="414937"/>
                          <a:pt x="21936" y="419819"/>
                          <a:pt x="18102" y="425570"/>
                        </a:cubicBezTo>
                        <a:cubicBezTo>
                          <a:pt x="-2320" y="534484"/>
                          <a:pt x="-4426" y="505329"/>
                          <a:pt x="6600" y="621102"/>
                        </a:cubicBezTo>
                        <a:cubicBezTo>
                          <a:pt x="7175" y="627137"/>
                          <a:pt x="9963" y="632783"/>
                          <a:pt x="12351" y="638355"/>
                        </a:cubicBezTo>
                        <a:cubicBezTo>
                          <a:pt x="15728" y="646235"/>
                          <a:pt x="19690" y="653865"/>
                          <a:pt x="23853" y="661359"/>
                        </a:cubicBezTo>
                        <a:cubicBezTo>
                          <a:pt x="29281" y="671130"/>
                          <a:pt x="36480" y="679938"/>
                          <a:pt x="41106" y="690114"/>
                        </a:cubicBezTo>
                        <a:cubicBezTo>
                          <a:pt x="46123" y="701151"/>
                          <a:pt x="48105" y="713362"/>
                          <a:pt x="52608" y="724619"/>
                        </a:cubicBezTo>
                        <a:cubicBezTo>
                          <a:pt x="60276" y="743789"/>
                          <a:pt x="71562" y="761883"/>
                          <a:pt x="75611" y="782129"/>
                        </a:cubicBezTo>
                        <a:cubicBezTo>
                          <a:pt x="96810" y="888121"/>
                          <a:pt x="69428" y="757394"/>
                          <a:pt x="87113" y="828136"/>
                        </a:cubicBezTo>
                        <a:cubicBezTo>
                          <a:pt x="89484" y="837619"/>
                          <a:pt x="89773" y="847618"/>
                          <a:pt x="92864" y="856891"/>
                        </a:cubicBezTo>
                        <a:cubicBezTo>
                          <a:pt x="95575" y="865024"/>
                          <a:pt x="100532" y="872227"/>
                          <a:pt x="104366" y="879895"/>
                        </a:cubicBezTo>
                        <a:cubicBezTo>
                          <a:pt x="121736" y="966743"/>
                          <a:pt x="109727" y="901676"/>
                          <a:pt x="127370" y="1086929"/>
                        </a:cubicBezTo>
                        <a:cubicBezTo>
                          <a:pt x="139229" y="1211442"/>
                          <a:pt x="125922" y="1085402"/>
                          <a:pt x="144623" y="1253706"/>
                        </a:cubicBezTo>
                        <a:cubicBezTo>
                          <a:pt x="146540" y="1403231"/>
                          <a:pt x="144457" y="1552860"/>
                          <a:pt x="150374" y="1702280"/>
                        </a:cubicBezTo>
                        <a:cubicBezTo>
                          <a:pt x="154157" y="1797803"/>
                          <a:pt x="155509" y="1798199"/>
                          <a:pt x="173377" y="1851804"/>
                        </a:cubicBezTo>
                        <a:cubicBezTo>
                          <a:pt x="183909" y="1946591"/>
                          <a:pt x="173882" y="1861260"/>
                          <a:pt x="190630" y="1984076"/>
                        </a:cubicBezTo>
                        <a:cubicBezTo>
                          <a:pt x="193321" y="2003809"/>
                          <a:pt x="197240" y="2043391"/>
                          <a:pt x="202132" y="2064589"/>
                        </a:cubicBezTo>
                        <a:cubicBezTo>
                          <a:pt x="219607" y="2140316"/>
                          <a:pt x="212064" y="2069280"/>
                          <a:pt x="225136" y="2173857"/>
                        </a:cubicBezTo>
                        <a:cubicBezTo>
                          <a:pt x="230127" y="2213782"/>
                          <a:pt x="228891" y="2223001"/>
                          <a:pt x="242389" y="2260121"/>
                        </a:cubicBezTo>
                        <a:cubicBezTo>
                          <a:pt x="248409" y="2276675"/>
                          <a:pt x="263146" y="2297218"/>
                          <a:pt x="271143" y="2311880"/>
                        </a:cubicBezTo>
                        <a:cubicBezTo>
                          <a:pt x="294392" y="2354504"/>
                          <a:pt x="276135" y="2338211"/>
                          <a:pt x="305649" y="2357887"/>
                        </a:cubicBezTo>
                        <a:cubicBezTo>
                          <a:pt x="333672" y="2399921"/>
                          <a:pt x="296376" y="2350159"/>
                          <a:pt x="340155" y="2386642"/>
                        </a:cubicBezTo>
                        <a:cubicBezTo>
                          <a:pt x="345465" y="2391067"/>
                          <a:pt x="346128" y="2399748"/>
                          <a:pt x="351657" y="2403895"/>
                        </a:cubicBezTo>
                        <a:cubicBezTo>
                          <a:pt x="369541" y="2417308"/>
                          <a:pt x="389819" y="2427199"/>
                          <a:pt x="409166" y="2438400"/>
                        </a:cubicBezTo>
                        <a:cubicBezTo>
                          <a:pt x="426247" y="2448289"/>
                          <a:pt x="445136" y="2455313"/>
                          <a:pt x="460925" y="2467155"/>
                        </a:cubicBezTo>
                        <a:cubicBezTo>
                          <a:pt x="468593" y="2472906"/>
                          <a:pt x="475514" y="2479818"/>
                          <a:pt x="483928" y="2484408"/>
                        </a:cubicBezTo>
                        <a:cubicBezTo>
                          <a:pt x="496745" y="2491399"/>
                          <a:pt x="511127" y="2495132"/>
                          <a:pt x="524185" y="2501661"/>
                        </a:cubicBezTo>
                        <a:cubicBezTo>
                          <a:pt x="532817" y="2505977"/>
                          <a:pt x="593714" y="2541583"/>
                          <a:pt x="610449" y="2547668"/>
                        </a:cubicBezTo>
                        <a:cubicBezTo>
                          <a:pt x="619635" y="2551008"/>
                          <a:pt x="629619" y="2551502"/>
                          <a:pt x="639204" y="2553419"/>
                        </a:cubicBezTo>
                        <a:cubicBezTo>
                          <a:pt x="682519" y="2582296"/>
                          <a:pt x="627469" y="2548390"/>
                          <a:pt x="679460" y="2570672"/>
                        </a:cubicBezTo>
                        <a:cubicBezTo>
                          <a:pt x="685813" y="2573395"/>
                          <a:pt x="690962" y="2578340"/>
                          <a:pt x="696713" y="2582174"/>
                        </a:cubicBezTo>
                        <a:lnTo>
                          <a:pt x="1070525" y="2576423"/>
                        </a:lnTo>
                        <a:cubicBezTo>
                          <a:pt x="1080169" y="2576147"/>
                          <a:pt x="1105545" y="2569630"/>
                          <a:pt x="1116532" y="2564921"/>
                        </a:cubicBezTo>
                        <a:cubicBezTo>
                          <a:pt x="1124412" y="2561544"/>
                          <a:pt x="1131324" y="2555882"/>
                          <a:pt x="1139536" y="2553419"/>
                        </a:cubicBezTo>
                        <a:cubicBezTo>
                          <a:pt x="1150705" y="2550068"/>
                          <a:pt x="1162540" y="2549585"/>
                          <a:pt x="1174042" y="2547668"/>
                        </a:cubicBezTo>
                        <a:cubicBezTo>
                          <a:pt x="1179793" y="2543834"/>
                          <a:pt x="1185112" y="2539257"/>
                          <a:pt x="1191294" y="2536166"/>
                        </a:cubicBezTo>
                        <a:cubicBezTo>
                          <a:pt x="1204352" y="2529637"/>
                          <a:pt x="1217996" y="2524336"/>
                          <a:pt x="1231551" y="2518914"/>
                        </a:cubicBezTo>
                        <a:cubicBezTo>
                          <a:pt x="1271447" y="2502956"/>
                          <a:pt x="1221294" y="2527236"/>
                          <a:pt x="1277559" y="2501661"/>
                        </a:cubicBezTo>
                        <a:cubicBezTo>
                          <a:pt x="1328373" y="2478563"/>
                          <a:pt x="1293909" y="2488947"/>
                          <a:pt x="1335068" y="2478657"/>
                        </a:cubicBezTo>
                        <a:cubicBezTo>
                          <a:pt x="1369037" y="2444688"/>
                          <a:pt x="1333617" y="2474190"/>
                          <a:pt x="1375325" y="2455653"/>
                        </a:cubicBezTo>
                        <a:cubicBezTo>
                          <a:pt x="1436094" y="2428644"/>
                          <a:pt x="1372452" y="2444725"/>
                          <a:pt x="1432834" y="2432649"/>
                        </a:cubicBezTo>
                        <a:cubicBezTo>
                          <a:pt x="1438585" y="2428815"/>
                          <a:pt x="1443734" y="2423871"/>
                          <a:pt x="1450087" y="2421148"/>
                        </a:cubicBezTo>
                        <a:cubicBezTo>
                          <a:pt x="1457352" y="2418035"/>
                          <a:pt x="1465537" y="2417721"/>
                          <a:pt x="1473091" y="2415397"/>
                        </a:cubicBezTo>
                        <a:cubicBezTo>
                          <a:pt x="1490473" y="2410049"/>
                          <a:pt x="1507596" y="2403895"/>
                          <a:pt x="1524849" y="2398144"/>
                        </a:cubicBezTo>
                        <a:lnTo>
                          <a:pt x="1524849" y="2398144"/>
                        </a:lnTo>
                        <a:cubicBezTo>
                          <a:pt x="1547449" y="2386844"/>
                          <a:pt x="1562898" y="2378557"/>
                          <a:pt x="1588109" y="2369389"/>
                        </a:cubicBezTo>
                        <a:cubicBezTo>
                          <a:pt x="1595537" y="2366688"/>
                          <a:pt x="1603615" y="2366137"/>
                          <a:pt x="1611113" y="2363638"/>
                        </a:cubicBezTo>
                        <a:cubicBezTo>
                          <a:pt x="1620907" y="2360373"/>
                          <a:pt x="1630202" y="2355761"/>
                          <a:pt x="1639868" y="2352136"/>
                        </a:cubicBezTo>
                        <a:cubicBezTo>
                          <a:pt x="1645544" y="2350007"/>
                          <a:pt x="1651699" y="2349096"/>
                          <a:pt x="1657121" y="2346385"/>
                        </a:cubicBezTo>
                        <a:cubicBezTo>
                          <a:pt x="1663303" y="2343294"/>
                          <a:pt x="1668623" y="2338717"/>
                          <a:pt x="1674374" y="2334883"/>
                        </a:cubicBezTo>
                        <a:cubicBezTo>
                          <a:pt x="1770223" y="2338717"/>
                          <a:pt x="1866188" y="2340307"/>
                          <a:pt x="1961921" y="2346385"/>
                        </a:cubicBezTo>
                        <a:cubicBezTo>
                          <a:pt x="1987084" y="2347983"/>
                          <a:pt x="2011494" y="2356759"/>
                          <a:pt x="2036683" y="2357887"/>
                        </a:cubicBezTo>
                        <a:cubicBezTo>
                          <a:pt x="2140114" y="2362518"/>
                          <a:pt x="2243717" y="2361721"/>
                          <a:pt x="2347234" y="2363638"/>
                        </a:cubicBezTo>
                        <a:cubicBezTo>
                          <a:pt x="2404743" y="2361721"/>
                          <a:pt x="2462326" y="2361368"/>
                          <a:pt x="2519762" y="2357887"/>
                        </a:cubicBezTo>
                        <a:cubicBezTo>
                          <a:pt x="2525813" y="2357520"/>
                          <a:pt x="2531339" y="2354265"/>
                          <a:pt x="2537015" y="2352136"/>
                        </a:cubicBezTo>
                        <a:cubicBezTo>
                          <a:pt x="2546681" y="2348511"/>
                          <a:pt x="2555810" y="2343350"/>
                          <a:pt x="2565770" y="2340634"/>
                        </a:cubicBezTo>
                        <a:cubicBezTo>
                          <a:pt x="2577020" y="2337566"/>
                          <a:pt x="2588641" y="2335659"/>
                          <a:pt x="2600276" y="2334883"/>
                        </a:cubicBezTo>
                        <a:cubicBezTo>
                          <a:pt x="2646221" y="2331820"/>
                          <a:pt x="2692314" y="2331552"/>
                          <a:pt x="2738298" y="2329132"/>
                        </a:cubicBezTo>
                        <a:cubicBezTo>
                          <a:pt x="2765167" y="2327718"/>
                          <a:pt x="2791973" y="2325299"/>
                          <a:pt x="2818811" y="2323382"/>
                        </a:cubicBezTo>
                        <a:cubicBezTo>
                          <a:pt x="2874237" y="2295669"/>
                          <a:pt x="2837403" y="2316658"/>
                          <a:pt x="2899325" y="2271623"/>
                        </a:cubicBezTo>
                        <a:cubicBezTo>
                          <a:pt x="2904915" y="2267558"/>
                          <a:pt x="2910576" y="2263550"/>
                          <a:pt x="2916577" y="2260121"/>
                        </a:cubicBezTo>
                        <a:cubicBezTo>
                          <a:pt x="2924020" y="2255867"/>
                          <a:pt x="2932558" y="2253535"/>
                          <a:pt x="2939581" y="2248619"/>
                        </a:cubicBezTo>
                        <a:cubicBezTo>
                          <a:pt x="2951847" y="2240033"/>
                          <a:pt x="2961456" y="2227903"/>
                          <a:pt x="2974087" y="2219865"/>
                        </a:cubicBezTo>
                        <a:cubicBezTo>
                          <a:pt x="2982796" y="2214323"/>
                          <a:pt x="2993609" y="2212980"/>
                          <a:pt x="3002842" y="2208363"/>
                        </a:cubicBezTo>
                        <a:cubicBezTo>
                          <a:pt x="3024326" y="2197621"/>
                          <a:pt x="3043431" y="2181792"/>
                          <a:pt x="3066102" y="2173857"/>
                        </a:cubicBezTo>
                        <a:cubicBezTo>
                          <a:pt x="3082486" y="2168122"/>
                          <a:pt x="3100607" y="2170023"/>
                          <a:pt x="3117860" y="2168106"/>
                        </a:cubicBezTo>
                        <a:cubicBezTo>
                          <a:pt x="3146615" y="2160438"/>
                          <a:pt x="3175105" y="2151697"/>
                          <a:pt x="3204125" y="2145102"/>
                        </a:cubicBezTo>
                        <a:cubicBezTo>
                          <a:pt x="3213827" y="2142897"/>
                          <a:pt x="3283214" y="2134497"/>
                          <a:pt x="3290389" y="2133600"/>
                        </a:cubicBezTo>
                        <a:lnTo>
                          <a:pt x="3514676" y="2139351"/>
                        </a:lnTo>
                        <a:cubicBezTo>
                          <a:pt x="3530117" y="2140008"/>
                          <a:pt x="3545639" y="2141562"/>
                          <a:pt x="3560683" y="2145102"/>
                        </a:cubicBezTo>
                        <a:cubicBezTo>
                          <a:pt x="3578386" y="2149267"/>
                          <a:pt x="3595189" y="2156604"/>
                          <a:pt x="3612442" y="2162355"/>
                        </a:cubicBezTo>
                        <a:cubicBezTo>
                          <a:pt x="3618193" y="2166189"/>
                          <a:pt x="3623026" y="2172038"/>
                          <a:pt x="3629694" y="2173857"/>
                        </a:cubicBezTo>
                        <a:cubicBezTo>
                          <a:pt x="3652437" y="2180060"/>
                          <a:pt x="3767171" y="2185325"/>
                          <a:pt x="3767717" y="2185359"/>
                        </a:cubicBezTo>
                        <a:lnTo>
                          <a:pt x="4291053" y="2179608"/>
                        </a:lnTo>
                        <a:cubicBezTo>
                          <a:pt x="4325897" y="2178882"/>
                          <a:pt x="4316997" y="2170633"/>
                          <a:pt x="4348562" y="2156604"/>
                        </a:cubicBezTo>
                        <a:cubicBezTo>
                          <a:pt x="4358857" y="2152029"/>
                          <a:pt x="4399209" y="2146246"/>
                          <a:pt x="4406072" y="2145102"/>
                        </a:cubicBezTo>
                        <a:cubicBezTo>
                          <a:pt x="4413740" y="2141268"/>
                          <a:pt x="4421943" y="2138355"/>
                          <a:pt x="4429076" y="2133600"/>
                        </a:cubicBezTo>
                        <a:cubicBezTo>
                          <a:pt x="4445026" y="2122967"/>
                          <a:pt x="4457285" y="2106214"/>
                          <a:pt x="4475083" y="2099095"/>
                        </a:cubicBezTo>
                        <a:cubicBezTo>
                          <a:pt x="4499332" y="2089395"/>
                          <a:pt x="4511102" y="2086458"/>
                          <a:pt x="4532592" y="2070340"/>
                        </a:cubicBezTo>
                        <a:cubicBezTo>
                          <a:pt x="4577435" y="2036707"/>
                          <a:pt x="4520437" y="2070910"/>
                          <a:pt x="4567098" y="2030083"/>
                        </a:cubicBezTo>
                        <a:cubicBezTo>
                          <a:pt x="4576724" y="2021661"/>
                          <a:pt x="4606166" y="2007675"/>
                          <a:pt x="4618857" y="2001329"/>
                        </a:cubicBezTo>
                        <a:lnTo>
                          <a:pt x="4653362" y="1949570"/>
                        </a:lnTo>
                        <a:cubicBezTo>
                          <a:pt x="4657196" y="1943819"/>
                          <a:pt x="4662141" y="1938670"/>
                          <a:pt x="4664864" y="1932317"/>
                        </a:cubicBezTo>
                        <a:cubicBezTo>
                          <a:pt x="4694607" y="1862918"/>
                          <a:pt x="4668414" y="1919027"/>
                          <a:pt x="4699370" y="1863306"/>
                        </a:cubicBezTo>
                        <a:cubicBezTo>
                          <a:pt x="4723692" y="1819527"/>
                          <a:pt x="4698273" y="1859201"/>
                          <a:pt x="4722374" y="1823049"/>
                        </a:cubicBezTo>
                        <a:cubicBezTo>
                          <a:pt x="4726208" y="1807713"/>
                          <a:pt x="4730564" y="1792499"/>
                          <a:pt x="4733876" y="1777042"/>
                        </a:cubicBezTo>
                        <a:cubicBezTo>
                          <a:pt x="4736319" y="1765640"/>
                          <a:pt x="4736276" y="1753705"/>
                          <a:pt x="4739626" y="1742536"/>
                        </a:cubicBezTo>
                        <a:cubicBezTo>
                          <a:pt x="4742089" y="1734324"/>
                          <a:pt x="4748118" y="1727559"/>
                          <a:pt x="4751128" y="1719532"/>
                        </a:cubicBezTo>
                        <a:cubicBezTo>
                          <a:pt x="4753903" y="1712132"/>
                          <a:pt x="4754708" y="1704129"/>
                          <a:pt x="4756879" y="1696529"/>
                        </a:cubicBezTo>
                        <a:cubicBezTo>
                          <a:pt x="4758544" y="1690700"/>
                          <a:pt x="4760713" y="1685027"/>
                          <a:pt x="4762630" y="1679276"/>
                        </a:cubicBezTo>
                        <a:cubicBezTo>
                          <a:pt x="4764547" y="1665857"/>
                          <a:pt x="4764486" y="1652003"/>
                          <a:pt x="4768381" y="1639019"/>
                        </a:cubicBezTo>
                        <a:cubicBezTo>
                          <a:pt x="4770367" y="1632399"/>
                          <a:pt x="4779520" y="1628668"/>
                          <a:pt x="4779883" y="1621766"/>
                        </a:cubicBezTo>
                        <a:cubicBezTo>
                          <a:pt x="4783909" y="1545279"/>
                          <a:pt x="4776856" y="1551844"/>
                          <a:pt x="4768381" y="1500997"/>
                        </a:cubicBezTo>
                        <a:cubicBezTo>
                          <a:pt x="4759570" y="1448130"/>
                          <a:pt x="4767902" y="1476555"/>
                          <a:pt x="4756879" y="1443487"/>
                        </a:cubicBezTo>
                        <a:cubicBezTo>
                          <a:pt x="4754962" y="1420483"/>
                          <a:pt x="4753825" y="1397401"/>
                          <a:pt x="4751128" y="1374476"/>
                        </a:cubicBezTo>
                        <a:cubicBezTo>
                          <a:pt x="4749986" y="1364768"/>
                          <a:pt x="4745377" y="1355496"/>
                          <a:pt x="4745377" y="1345721"/>
                        </a:cubicBezTo>
                        <a:cubicBezTo>
                          <a:pt x="4745377" y="1292011"/>
                          <a:pt x="4747879" y="1238306"/>
                          <a:pt x="4751128" y="1184695"/>
                        </a:cubicBezTo>
                        <a:cubicBezTo>
                          <a:pt x="4751719" y="1174938"/>
                          <a:pt x="4754759" y="1165482"/>
                          <a:pt x="4756879" y="1155940"/>
                        </a:cubicBezTo>
                        <a:cubicBezTo>
                          <a:pt x="4758353" y="1149307"/>
                          <a:pt x="4764539" y="1123368"/>
                          <a:pt x="4768381" y="1115683"/>
                        </a:cubicBezTo>
                        <a:cubicBezTo>
                          <a:pt x="4771472" y="1109501"/>
                          <a:pt x="4776049" y="1104182"/>
                          <a:pt x="4779883" y="1098431"/>
                        </a:cubicBezTo>
                        <a:cubicBezTo>
                          <a:pt x="4781800" y="1090763"/>
                          <a:pt x="4782099" y="1082497"/>
                          <a:pt x="4785634" y="1075427"/>
                        </a:cubicBezTo>
                        <a:cubicBezTo>
                          <a:pt x="4791816" y="1063063"/>
                          <a:pt x="4808638" y="1040921"/>
                          <a:pt x="4808638" y="1040921"/>
                        </a:cubicBezTo>
                        <a:cubicBezTo>
                          <a:pt x="4821847" y="988087"/>
                          <a:pt x="4802757" y="1042523"/>
                          <a:pt x="4831642" y="1006416"/>
                        </a:cubicBezTo>
                        <a:cubicBezTo>
                          <a:pt x="4835429" y="1001682"/>
                          <a:pt x="4834385" y="994426"/>
                          <a:pt x="4837392" y="989163"/>
                        </a:cubicBezTo>
                        <a:cubicBezTo>
                          <a:pt x="4842147" y="980841"/>
                          <a:pt x="4849815" y="974438"/>
                          <a:pt x="4854645" y="966159"/>
                        </a:cubicBezTo>
                        <a:cubicBezTo>
                          <a:pt x="4863284" y="951349"/>
                          <a:pt x="4877649" y="920151"/>
                          <a:pt x="4877649" y="920151"/>
                        </a:cubicBezTo>
                        <a:cubicBezTo>
                          <a:pt x="4892235" y="847223"/>
                          <a:pt x="4872689" y="925974"/>
                          <a:pt x="4894902" y="874144"/>
                        </a:cubicBezTo>
                        <a:cubicBezTo>
                          <a:pt x="4916437" y="823895"/>
                          <a:pt x="4879589" y="879226"/>
                          <a:pt x="4917906" y="828136"/>
                        </a:cubicBezTo>
                        <a:cubicBezTo>
                          <a:pt x="4921740" y="814717"/>
                          <a:pt x="4926533" y="801536"/>
                          <a:pt x="4929408" y="787880"/>
                        </a:cubicBezTo>
                        <a:cubicBezTo>
                          <a:pt x="4934212" y="765059"/>
                          <a:pt x="4940909" y="718868"/>
                          <a:pt x="4940909" y="718868"/>
                        </a:cubicBezTo>
                        <a:cubicBezTo>
                          <a:pt x="4938992" y="676695"/>
                          <a:pt x="4941129" y="634141"/>
                          <a:pt x="4935159" y="592348"/>
                        </a:cubicBezTo>
                        <a:cubicBezTo>
                          <a:pt x="4933985" y="584131"/>
                          <a:pt x="4896654" y="520798"/>
                          <a:pt x="4894902" y="517585"/>
                        </a:cubicBezTo>
                        <a:cubicBezTo>
                          <a:pt x="4861271" y="455929"/>
                          <a:pt x="4913869" y="544105"/>
                          <a:pt x="4860396" y="460076"/>
                        </a:cubicBezTo>
                        <a:cubicBezTo>
                          <a:pt x="4854395" y="450646"/>
                          <a:pt x="4851047" y="439225"/>
                          <a:pt x="4843143" y="431321"/>
                        </a:cubicBezTo>
                        <a:cubicBezTo>
                          <a:pt x="4833368" y="421546"/>
                          <a:pt x="4819432" y="416952"/>
                          <a:pt x="4808638" y="408317"/>
                        </a:cubicBezTo>
                        <a:cubicBezTo>
                          <a:pt x="4740724" y="353986"/>
                          <a:pt x="4835113" y="417725"/>
                          <a:pt x="4756879" y="362310"/>
                        </a:cubicBezTo>
                        <a:cubicBezTo>
                          <a:pt x="4720866" y="336801"/>
                          <a:pt x="4678816" y="318755"/>
                          <a:pt x="4647611" y="287548"/>
                        </a:cubicBezTo>
                        <a:cubicBezTo>
                          <a:pt x="4619019" y="258955"/>
                          <a:pt x="4635128" y="267174"/>
                          <a:pt x="4601604" y="258793"/>
                        </a:cubicBezTo>
                        <a:cubicBezTo>
                          <a:pt x="4597770" y="253042"/>
                          <a:pt x="4595726" y="245557"/>
                          <a:pt x="4590102" y="241540"/>
                        </a:cubicBezTo>
                        <a:cubicBezTo>
                          <a:pt x="4575390" y="231031"/>
                          <a:pt x="4549580" y="227685"/>
                          <a:pt x="4532592" y="224287"/>
                        </a:cubicBezTo>
                        <a:cubicBezTo>
                          <a:pt x="4450048" y="174759"/>
                          <a:pt x="4554508" y="233053"/>
                          <a:pt x="4475083" y="201283"/>
                        </a:cubicBezTo>
                        <a:cubicBezTo>
                          <a:pt x="4462798" y="196369"/>
                          <a:pt x="4391170" y="159894"/>
                          <a:pt x="4360064" y="149525"/>
                        </a:cubicBezTo>
                        <a:cubicBezTo>
                          <a:pt x="4347883" y="145465"/>
                          <a:pt x="4319700" y="140302"/>
                          <a:pt x="4308306" y="138023"/>
                        </a:cubicBezTo>
                        <a:lnTo>
                          <a:pt x="2795808" y="149525"/>
                        </a:lnTo>
                        <a:cubicBezTo>
                          <a:pt x="2782254" y="149676"/>
                          <a:pt x="2769081" y="154456"/>
                          <a:pt x="2755551" y="155276"/>
                        </a:cubicBezTo>
                        <a:cubicBezTo>
                          <a:pt x="2705764" y="158293"/>
                          <a:pt x="2655888" y="159759"/>
                          <a:pt x="2606026" y="161027"/>
                        </a:cubicBezTo>
                        <a:lnTo>
                          <a:pt x="2076940" y="172529"/>
                        </a:lnTo>
                        <a:cubicBezTo>
                          <a:pt x="2057770" y="176363"/>
                          <a:pt x="2037977" y="177849"/>
                          <a:pt x="2019430" y="184031"/>
                        </a:cubicBezTo>
                        <a:cubicBezTo>
                          <a:pt x="2007928" y="187865"/>
                          <a:pt x="1996182" y="191029"/>
                          <a:pt x="1984925" y="195532"/>
                        </a:cubicBezTo>
                        <a:cubicBezTo>
                          <a:pt x="1952610" y="208458"/>
                          <a:pt x="1985883" y="228121"/>
                          <a:pt x="1979174" y="230038"/>
                        </a:cubicBezTo>
                        <a:close/>
                      </a:path>
                    </a:pathLst>
                  </a:cu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TextBox 25">
            <a:extLst>
              <a:ext uri="{FF2B5EF4-FFF2-40B4-BE49-F238E27FC236}">
                <a16:creationId xmlns:a16="http://schemas.microsoft.com/office/drawing/2014/main" id="{2B2D949C-4460-4E15-AA48-EA38E4F6D521}"/>
              </a:ext>
            </a:extLst>
          </p:cNvPr>
          <p:cNvSpPr txBox="1"/>
          <p:nvPr/>
        </p:nvSpPr>
        <p:spPr>
          <a:xfrm flipH="1">
            <a:off x="392149" y="5723359"/>
            <a:ext cx="2938218" cy="369332"/>
          </a:xfrm>
          <a:prstGeom prst="rect">
            <a:avLst/>
          </a:prstGeom>
          <a:noFill/>
        </p:spPr>
        <p:txBody>
          <a:bodyPr wrap="square" rtlCol="0">
            <a:spAutoFit/>
          </a:bodyPr>
          <a:lstStyle/>
          <a:p>
            <a:r>
              <a:rPr lang="en-GB" dirty="0"/>
              <a:t>Typical innovation funnel</a:t>
            </a:r>
          </a:p>
        </p:txBody>
      </p:sp>
      <p:sp>
        <p:nvSpPr>
          <p:cNvPr id="28" name="TextBox 27">
            <a:extLst>
              <a:ext uri="{FF2B5EF4-FFF2-40B4-BE49-F238E27FC236}">
                <a16:creationId xmlns:a16="http://schemas.microsoft.com/office/drawing/2014/main" id="{C6030F63-8362-47D9-9BB1-1BB50EFCDE36}"/>
              </a:ext>
            </a:extLst>
          </p:cNvPr>
          <p:cNvSpPr txBox="1"/>
          <p:nvPr/>
        </p:nvSpPr>
        <p:spPr>
          <a:xfrm flipH="1">
            <a:off x="8491092" y="6021445"/>
            <a:ext cx="2128377" cy="646331"/>
          </a:xfrm>
          <a:prstGeom prst="rect">
            <a:avLst/>
          </a:prstGeom>
          <a:noFill/>
        </p:spPr>
        <p:txBody>
          <a:bodyPr wrap="square" rtlCol="0">
            <a:spAutoFit/>
          </a:bodyPr>
          <a:lstStyle/>
          <a:p>
            <a:r>
              <a:rPr lang="en-GB" dirty="0"/>
              <a:t>Crowdsourced innovation funnel</a:t>
            </a:r>
          </a:p>
        </p:txBody>
      </p:sp>
      <p:sp>
        <p:nvSpPr>
          <p:cNvPr id="2" name="Freeform: Shape 1">
            <a:extLst>
              <a:ext uri="{FF2B5EF4-FFF2-40B4-BE49-F238E27FC236}">
                <a16:creationId xmlns:a16="http://schemas.microsoft.com/office/drawing/2014/main" id="{DD0EE4CA-852A-430C-98AA-B5FF6E6113E3}"/>
              </a:ext>
            </a:extLst>
          </p:cNvPr>
          <p:cNvSpPr/>
          <p:nvPr/>
        </p:nvSpPr>
        <p:spPr>
          <a:xfrm>
            <a:off x="5790765" y="3178631"/>
            <a:ext cx="5922263" cy="3590232"/>
          </a:xfrm>
          <a:custGeom>
            <a:avLst/>
            <a:gdLst>
              <a:gd name="connsiteX0" fmla="*/ 5685888 w 5716990"/>
              <a:gd name="connsiteY0" fmla="*/ 1194318 h 3590232"/>
              <a:gd name="connsiteX1" fmla="*/ 5704549 w 5716990"/>
              <a:gd name="connsiteY1" fmla="*/ 1156996 h 3590232"/>
              <a:gd name="connsiteX2" fmla="*/ 5716990 w 5716990"/>
              <a:gd name="connsiteY2" fmla="*/ 1088571 h 3590232"/>
              <a:gd name="connsiteX3" fmla="*/ 5704549 w 5716990"/>
              <a:gd name="connsiteY3" fmla="*/ 814873 h 3590232"/>
              <a:gd name="connsiteX4" fmla="*/ 5692109 w 5716990"/>
              <a:gd name="connsiteY4" fmla="*/ 734008 h 3590232"/>
              <a:gd name="connsiteX5" fmla="*/ 5685888 w 5716990"/>
              <a:gd name="connsiteY5" fmla="*/ 715347 h 3590232"/>
              <a:gd name="connsiteX6" fmla="*/ 5661006 w 5716990"/>
              <a:gd name="connsiteY6" fmla="*/ 696685 h 3590232"/>
              <a:gd name="connsiteX7" fmla="*/ 5623684 w 5716990"/>
              <a:gd name="connsiteY7" fmla="*/ 665583 h 3590232"/>
              <a:gd name="connsiteX8" fmla="*/ 5592582 w 5716990"/>
              <a:gd name="connsiteY8" fmla="*/ 659363 h 3590232"/>
              <a:gd name="connsiteX9" fmla="*/ 5567700 w 5716990"/>
              <a:gd name="connsiteY9" fmla="*/ 653142 h 3590232"/>
              <a:gd name="connsiteX10" fmla="*/ 5549039 w 5716990"/>
              <a:gd name="connsiteY10" fmla="*/ 640702 h 3590232"/>
              <a:gd name="connsiteX11" fmla="*/ 5461953 w 5716990"/>
              <a:gd name="connsiteY11" fmla="*/ 628261 h 3590232"/>
              <a:gd name="connsiteX12" fmla="*/ 5356206 w 5716990"/>
              <a:gd name="connsiteY12" fmla="*/ 597159 h 3590232"/>
              <a:gd name="connsiteX13" fmla="*/ 5318884 w 5716990"/>
              <a:gd name="connsiteY13" fmla="*/ 590938 h 3590232"/>
              <a:gd name="connsiteX14" fmla="*/ 5287782 w 5716990"/>
              <a:gd name="connsiteY14" fmla="*/ 578498 h 3590232"/>
              <a:gd name="connsiteX15" fmla="*/ 5256680 w 5716990"/>
              <a:gd name="connsiteY15" fmla="*/ 572277 h 3590232"/>
              <a:gd name="connsiteX16" fmla="*/ 5238019 w 5716990"/>
              <a:gd name="connsiteY16" fmla="*/ 559836 h 3590232"/>
              <a:gd name="connsiteX17" fmla="*/ 5213137 w 5716990"/>
              <a:gd name="connsiteY17" fmla="*/ 547396 h 3590232"/>
              <a:gd name="connsiteX18" fmla="*/ 5182035 w 5716990"/>
              <a:gd name="connsiteY18" fmla="*/ 541175 h 3590232"/>
              <a:gd name="connsiteX19" fmla="*/ 5113611 w 5716990"/>
              <a:gd name="connsiteY19" fmla="*/ 503853 h 3590232"/>
              <a:gd name="connsiteX20" fmla="*/ 5094949 w 5716990"/>
              <a:gd name="connsiteY20" fmla="*/ 491412 h 3590232"/>
              <a:gd name="connsiteX21" fmla="*/ 5051406 w 5716990"/>
              <a:gd name="connsiteY21" fmla="*/ 472751 h 3590232"/>
              <a:gd name="connsiteX22" fmla="*/ 5032745 w 5716990"/>
              <a:gd name="connsiteY22" fmla="*/ 454089 h 3590232"/>
              <a:gd name="connsiteX23" fmla="*/ 4976762 w 5716990"/>
              <a:gd name="connsiteY23" fmla="*/ 422987 h 3590232"/>
              <a:gd name="connsiteX24" fmla="*/ 4964321 w 5716990"/>
              <a:gd name="connsiteY24" fmla="*/ 404326 h 3590232"/>
              <a:gd name="connsiteX25" fmla="*/ 4945660 w 5716990"/>
              <a:gd name="connsiteY25" fmla="*/ 398106 h 3590232"/>
              <a:gd name="connsiteX26" fmla="*/ 4920778 w 5716990"/>
              <a:gd name="connsiteY26" fmla="*/ 385665 h 3590232"/>
              <a:gd name="connsiteX27" fmla="*/ 4902117 w 5716990"/>
              <a:gd name="connsiteY27" fmla="*/ 367004 h 3590232"/>
              <a:gd name="connsiteX28" fmla="*/ 4852353 w 5716990"/>
              <a:gd name="connsiteY28" fmla="*/ 342122 h 3590232"/>
              <a:gd name="connsiteX29" fmla="*/ 4827472 w 5716990"/>
              <a:gd name="connsiteY29" fmla="*/ 329681 h 3590232"/>
              <a:gd name="connsiteX30" fmla="*/ 4759047 w 5716990"/>
              <a:gd name="connsiteY30" fmla="*/ 304800 h 3590232"/>
              <a:gd name="connsiteX31" fmla="*/ 4734166 w 5716990"/>
              <a:gd name="connsiteY31" fmla="*/ 286138 h 3590232"/>
              <a:gd name="connsiteX32" fmla="*/ 4653300 w 5716990"/>
              <a:gd name="connsiteY32" fmla="*/ 267477 h 3590232"/>
              <a:gd name="connsiteX33" fmla="*/ 4622198 w 5716990"/>
              <a:gd name="connsiteY33" fmla="*/ 248816 h 3590232"/>
              <a:gd name="connsiteX34" fmla="*/ 4597317 w 5716990"/>
              <a:gd name="connsiteY34" fmla="*/ 242596 h 3590232"/>
              <a:gd name="connsiteX35" fmla="*/ 4572435 w 5716990"/>
              <a:gd name="connsiteY35" fmla="*/ 223934 h 3590232"/>
              <a:gd name="connsiteX36" fmla="*/ 4547553 w 5716990"/>
              <a:gd name="connsiteY36" fmla="*/ 217714 h 3590232"/>
              <a:gd name="connsiteX37" fmla="*/ 4516451 w 5716990"/>
              <a:gd name="connsiteY37" fmla="*/ 205273 h 3590232"/>
              <a:gd name="connsiteX38" fmla="*/ 4466688 w 5716990"/>
              <a:gd name="connsiteY38" fmla="*/ 192832 h 3590232"/>
              <a:gd name="connsiteX39" fmla="*/ 4416925 w 5716990"/>
              <a:gd name="connsiteY39" fmla="*/ 180391 h 3590232"/>
              <a:gd name="connsiteX40" fmla="*/ 4360941 w 5716990"/>
              <a:gd name="connsiteY40" fmla="*/ 174171 h 3590232"/>
              <a:gd name="connsiteX41" fmla="*/ 4273855 w 5716990"/>
              <a:gd name="connsiteY41" fmla="*/ 161730 h 3590232"/>
              <a:gd name="connsiteX42" fmla="*/ 4224092 w 5716990"/>
              <a:gd name="connsiteY42" fmla="*/ 155510 h 3590232"/>
              <a:gd name="connsiteX43" fmla="*/ 4199211 w 5716990"/>
              <a:gd name="connsiteY43" fmla="*/ 149289 h 3590232"/>
              <a:gd name="connsiteX44" fmla="*/ 4180549 w 5716990"/>
              <a:gd name="connsiteY44" fmla="*/ 136849 h 3590232"/>
              <a:gd name="connsiteX45" fmla="*/ 4155668 w 5716990"/>
              <a:gd name="connsiteY45" fmla="*/ 124408 h 3590232"/>
              <a:gd name="connsiteX46" fmla="*/ 4124566 w 5716990"/>
              <a:gd name="connsiteY46" fmla="*/ 105747 h 3590232"/>
              <a:gd name="connsiteX47" fmla="*/ 4087243 w 5716990"/>
              <a:gd name="connsiteY47" fmla="*/ 93306 h 3590232"/>
              <a:gd name="connsiteX48" fmla="*/ 4043700 w 5716990"/>
              <a:gd name="connsiteY48" fmla="*/ 74645 h 3590232"/>
              <a:gd name="connsiteX49" fmla="*/ 3975276 w 5716990"/>
              <a:gd name="connsiteY49" fmla="*/ 62204 h 3590232"/>
              <a:gd name="connsiteX50" fmla="*/ 3962835 w 5716990"/>
              <a:gd name="connsiteY50" fmla="*/ 43542 h 3590232"/>
              <a:gd name="connsiteX51" fmla="*/ 3906851 w 5716990"/>
              <a:gd name="connsiteY51" fmla="*/ 24881 h 3590232"/>
              <a:gd name="connsiteX52" fmla="*/ 3819766 w 5716990"/>
              <a:gd name="connsiteY52" fmla="*/ 12440 h 3590232"/>
              <a:gd name="connsiteX53" fmla="*/ 3776223 w 5716990"/>
              <a:gd name="connsiteY53" fmla="*/ 0 h 3590232"/>
              <a:gd name="connsiteX54" fmla="*/ 2799619 w 5716990"/>
              <a:gd name="connsiteY54" fmla="*/ 6220 h 3590232"/>
              <a:gd name="connsiteX55" fmla="*/ 2749855 w 5716990"/>
              <a:gd name="connsiteY55" fmla="*/ 18661 h 3590232"/>
              <a:gd name="connsiteX56" fmla="*/ 2712533 w 5716990"/>
              <a:gd name="connsiteY56" fmla="*/ 37322 h 3590232"/>
              <a:gd name="connsiteX57" fmla="*/ 2625447 w 5716990"/>
              <a:gd name="connsiteY57" fmla="*/ 62204 h 3590232"/>
              <a:gd name="connsiteX58" fmla="*/ 2588125 w 5716990"/>
              <a:gd name="connsiteY58" fmla="*/ 74645 h 3590232"/>
              <a:gd name="connsiteX59" fmla="*/ 2557023 w 5716990"/>
              <a:gd name="connsiteY59" fmla="*/ 93306 h 3590232"/>
              <a:gd name="connsiteX60" fmla="*/ 2494819 w 5716990"/>
              <a:gd name="connsiteY60" fmla="*/ 105747 h 3590232"/>
              <a:gd name="connsiteX61" fmla="*/ 2469937 w 5716990"/>
              <a:gd name="connsiteY61" fmla="*/ 118187 h 3590232"/>
              <a:gd name="connsiteX62" fmla="*/ 2432615 w 5716990"/>
              <a:gd name="connsiteY62" fmla="*/ 130628 h 3590232"/>
              <a:gd name="connsiteX63" fmla="*/ 2413953 w 5716990"/>
              <a:gd name="connsiteY63" fmla="*/ 143069 h 3590232"/>
              <a:gd name="connsiteX64" fmla="*/ 2351749 w 5716990"/>
              <a:gd name="connsiteY64" fmla="*/ 155510 h 3590232"/>
              <a:gd name="connsiteX65" fmla="*/ 2295766 w 5716990"/>
              <a:gd name="connsiteY65" fmla="*/ 174171 h 3590232"/>
              <a:gd name="connsiteX66" fmla="*/ 2270884 w 5716990"/>
              <a:gd name="connsiteY66" fmla="*/ 186612 h 3590232"/>
              <a:gd name="connsiteX67" fmla="*/ 2202460 w 5716990"/>
              <a:gd name="connsiteY67" fmla="*/ 199053 h 3590232"/>
              <a:gd name="connsiteX68" fmla="*/ 2177578 w 5716990"/>
              <a:gd name="connsiteY68" fmla="*/ 217714 h 3590232"/>
              <a:gd name="connsiteX69" fmla="*/ 2152696 w 5716990"/>
              <a:gd name="connsiteY69" fmla="*/ 223934 h 3590232"/>
              <a:gd name="connsiteX70" fmla="*/ 2096713 w 5716990"/>
              <a:gd name="connsiteY70" fmla="*/ 236375 h 3590232"/>
              <a:gd name="connsiteX71" fmla="*/ 2071831 w 5716990"/>
              <a:gd name="connsiteY71" fmla="*/ 242596 h 3590232"/>
              <a:gd name="connsiteX72" fmla="*/ 2034509 w 5716990"/>
              <a:gd name="connsiteY72" fmla="*/ 255036 h 3590232"/>
              <a:gd name="connsiteX73" fmla="*/ 1978525 w 5716990"/>
              <a:gd name="connsiteY73" fmla="*/ 261257 h 3590232"/>
              <a:gd name="connsiteX74" fmla="*/ 1823015 w 5716990"/>
              <a:gd name="connsiteY74" fmla="*/ 279918 h 3590232"/>
              <a:gd name="connsiteX75" fmla="*/ 1754590 w 5716990"/>
              <a:gd name="connsiteY75" fmla="*/ 292359 h 3590232"/>
              <a:gd name="connsiteX76" fmla="*/ 1661284 w 5716990"/>
              <a:gd name="connsiteY76" fmla="*/ 304800 h 3590232"/>
              <a:gd name="connsiteX77" fmla="*/ 1549317 w 5716990"/>
              <a:gd name="connsiteY77" fmla="*/ 323461 h 3590232"/>
              <a:gd name="connsiteX78" fmla="*/ 1530655 w 5716990"/>
              <a:gd name="connsiteY78" fmla="*/ 329681 h 3590232"/>
              <a:gd name="connsiteX79" fmla="*/ 1505774 w 5716990"/>
              <a:gd name="connsiteY79" fmla="*/ 342122 h 3590232"/>
              <a:gd name="connsiteX80" fmla="*/ 1393806 w 5716990"/>
              <a:gd name="connsiteY80" fmla="*/ 348342 h 3590232"/>
              <a:gd name="connsiteX81" fmla="*/ 1319162 w 5716990"/>
              <a:gd name="connsiteY81" fmla="*/ 354563 h 3590232"/>
              <a:gd name="connsiteX82" fmla="*/ 1033023 w 5716990"/>
              <a:gd name="connsiteY82" fmla="*/ 367004 h 3590232"/>
              <a:gd name="connsiteX83" fmla="*/ 977039 w 5716990"/>
              <a:gd name="connsiteY83" fmla="*/ 373224 h 3590232"/>
              <a:gd name="connsiteX84" fmla="*/ 927276 w 5716990"/>
              <a:gd name="connsiteY84" fmla="*/ 385665 h 3590232"/>
              <a:gd name="connsiteX85" fmla="*/ 840190 w 5716990"/>
              <a:gd name="connsiteY85" fmla="*/ 391885 h 3590232"/>
              <a:gd name="connsiteX86" fmla="*/ 709562 w 5716990"/>
              <a:gd name="connsiteY86" fmla="*/ 398106 h 3590232"/>
              <a:gd name="connsiteX87" fmla="*/ 610035 w 5716990"/>
              <a:gd name="connsiteY87" fmla="*/ 404326 h 3590232"/>
              <a:gd name="connsiteX88" fmla="*/ 522949 w 5716990"/>
              <a:gd name="connsiteY88" fmla="*/ 422987 h 3590232"/>
              <a:gd name="connsiteX89" fmla="*/ 473186 w 5716990"/>
              <a:gd name="connsiteY89" fmla="*/ 435428 h 3590232"/>
              <a:gd name="connsiteX90" fmla="*/ 423423 w 5716990"/>
              <a:gd name="connsiteY90" fmla="*/ 447869 h 3590232"/>
              <a:gd name="connsiteX91" fmla="*/ 398541 w 5716990"/>
              <a:gd name="connsiteY91" fmla="*/ 454089 h 3590232"/>
              <a:gd name="connsiteX92" fmla="*/ 299015 w 5716990"/>
              <a:gd name="connsiteY92" fmla="*/ 466530 h 3590232"/>
              <a:gd name="connsiteX93" fmla="*/ 261692 w 5716990"/>
              <a:gd name="connsiteY93" fmla="*/ 485191 h 3590232"/>
              <a:gd name="connsiteX94" fmla="*/ 205709 w 5716990"/>
              <a:gd name="connsiteY94" fmla="*/ 497632 h 3590232"/>
              <a:gd name="connsiteX95" fmla="*/ 162166 w 5716990"/>
              <a:gd name="connsiteY95" fmla="*/ 510073 h 3590232"/>
              <a:gd name="connsiteX96" fmla="*/ 143504 w 5716990"/>
              <a:gd name="connsiteY96" fmla="*/ 528734 h 3590232"/>
              <a:gd name="connsiteX97" fmla="*/ 99962 w 5716990"/>
              <a:gd name="connsiteY97" fmla="*/ 553616 h 3590232"/>
              <a:gd name="connsiteX98" fmla="*/ 93741 w 5716990"/>
              <a:gd name="connsiteY98" fmla="*/ 572277 h 3590232"/>
              <a:gd name="connsiteX99" fmla="*/ 50198 w 5716990"/>
              <a:gd name="connsiteY99" fmla="*/ 615820 h 3590232"/>
              <a:gd name="connsiteX100" fmla="*/ 43978 w 5716990"/>
              <a:gd name="connsiteY100" fmla="*/ 634481 h 3590232"/>
              <a:gd name="connsiteX101" fmla="*/ 37758 w 5716990"/>
              <a:gd name="connsiteY101" fmla="*/ 659363 h 3590232"/>
              <a:gd name="connsiteX102" fmla="*/ 19096 w 5716990"/>
              <a:gd name="connsiteY102" fmla="*/ 690465 h 3590232"/>
              <a:gd name="connsiteX103" fmla="*/ 12876 w 5716990"/>
              <a:gd name="connsiteY103" fmla="*/ 727787 h 3590232"/>
              <a:gd name="connsiteX104" fmla="*/ 6655 w 5716990"/>
              <a:gd name="connsiteY104" fmla="*/ 783771 h 3590232"/>
              <a:gd name="connsiteX105" fmla="*/ 435 w 5716990"/>
              <a:gd name="connsiteY105" fmla="*/ 814873 h 3590232"/>
              <a:gd name="connsiteX106" fmla="*/ 12876 w 5716990"/>
              <a:gd name="connsiteY106" fmla="*/ 982824 h 3590232"/>
              <a:gd name="connsiteX107" fmla="*/ 25317 w 5716990"/>
              <a:gd name="connsiteY107" fmla="*/ 1013926 h 3590232"/>
              <a:gd name="connsiteX108" fmla="*/ 31537 w 5716990"/>
              <a:gd name="connsiteY108" fmla="*/ 1051249 h 3590232"/>
              <a:gd name="connsiteX109" fmla="*/ 50198 w 5716990"/>
              <a:gd name="connsiteY109" fmla="*/ 1119673 h 3590232"/>
              <a:gd name="connsiteX110" fmla="*/ 56419 w 5716990"/>
              <a:gd name="connsiteY110" fmla="*/ 1144555 h 3590232"/>
              <a:gd name="connsiteX111" fmla="*/ 75080 w 5716990"/>
              <a:gd name="connsiteY111" fmla="*/ 1163216 h 3590232"/>
              <a:gd name="connsiteX112" fmla="*/ 87521 w 5716990"/>
              <a:gd name="connsiteY112" fmla="*/ 1847461 h 3590232"/>
              <a:gd name="connsiteX113" fmla="*/ 112402 w 5716990"/>
              <a:gd name="connsiteY113" fmla="*/ 1990530 h 3590232"/>
              <a:gd name="connsiteX114" fmla="*/ 124843 w 5716990"/>
              <a:gd name="connsiteY114" fmla="*/ 2090057 h 3590232"/>
              <a:gd name="connsiteX115" fmla="*/ 131064 w 5716990"/>
              <a:gd name="connsiteY115" fmla="*/ 2121159 h 3590232"/>
              <a:gd name="connsiteX116" fmla="*/ 137284 w 5716990"/>
              <a:gd name="connsiteY116" fmla="*/ 2195804 h 3590232"/>
              <a:gd name="connsiteX117" fmla="*/ 149725 w 5716990"/>
              <a:gd name="connsiteY117" fmla="*/ 2282889 h 3590232"/>
              <a:gd name="connsiteX118" fmla="*/ 155945 w 5716990"/>
              <a:gd name="connsiteY118" fmla="*/ 2376196 h 3590232"/>
              <a:gd name="connsiteX119" fmla="*/ 174606 w 5716990"/>
              <a:gd name="connsiteY119" fmla="*/ 2494383 h 3590232"/>
              <a:gd name="connsiteX120" fmla="*/ 180827 w 5716990"/>
              <a:gd name="connsiteY120" fmla="*/ 2537926 h 3590232"/>
              <a:gd name="connsiteX121" fmla="*/ 199488 w 5716990"/>
              <a:gd name="connsiteY121" fmla="*/ 2612571 h 3590232"/>
              <a:gd name="connsiteX122" fmla="*/ 205709 w 5716990"/>
              <a:gd name="connsiteY122" fmla="*/ 2637453 h 3590232"/>
              <a:gd name="connsiteX123" fmla="*/ 218149 w 5716990"/>
              <a:gd name="connsiteY123" fmla="*/ 2674775 h 3590232"/>
              <a:gd name="connsiteX124" fmla="*/ 230590 w 5716990"/>
              <a:gd name="connsiteY124" fmla="*/ 2724538 h 3590232"/>
              <a:gd name="connsiteX125" fmla="*/ 249251 w 5716990"/>
              <a:gd name="connsiteY125" fmla="*/ 2749420 h 3590232"/>
              <a:gd name="connsiteX126" fmla="*/ 274133 w 5716990"/>
              <a:gd name="connsiteY126" fmla="*/ 2792963 h 3590232"/>
              <a:gd name="connsiteX127" fmla="*/ 311455 w 5716990"/>
              <a:gd name="connsiteY127" fmla="*/ 2842726 h 3590232"/>
              <a:gd name="connsiteX128" fmla="*/ 354998 w 5716990"/>
              <a:gd name="connsiteY128" fmla="*/ 2898710 h 3590232"/>
              <a:gd name="connsiteX129" fmla="*/ 392321 w 5716990"/>
              <a:gd name="connsiteY129" fmla="*/ 2942253 h 3590232"/>
              <a:gd name="connsiteX130" fmla="*/ 429643 w 5716990"/>
              <a:gd name="connsiteY130" fmla="*/ 2967134 h 3590232"/>
              <a:gd name="connsiteX131" fmla="*/ 473186 w 5716990"/>
              <a:gd name="connsiteY131" fmla="*/ 3004457 h 3590232"/>
              <a:gd name="connsiteX132" fmla="*/ 491847 w 5716990"/>
              <a:gd name="connsiteY132" fmla="*/ 3023118 h 3590232"/>
              <a:gd name="connsiteX133" fmla="*/ 535390 w 5716990"/>
              <a:gd name="connsiteY133" fmla="*/ 3035559 h 3590232"/>
              <a:gd name="connsiteX134" fmla="*/ 560272 w 5716990"/>
              <a:gd name="connsiteY134" fmla="*/ 3048000 h 3590232"/>
              <a:gd name="connsiteX135" fmla="*/ 809088 w 5716990"/>
              <a:gd name="connsiteY135" fmla="*/ 3066661 h 3590232"/>
              <a:gd name="connsiteX136" fmla="*/ 1076566 w 5716990"/>
              <a:gd name="connsiteY136" fmla="*/ 3079102 h 3590232"/>
              <a:gd name="connsiteX137" fmla="*/ 1132549 w 5716990"/>
              <a:gd name="connsiteY137" fmla="*/ 3085322 h 3590232"/>
              <a:gd name="connsiteX138" fmla="*/ 1194753 w 5716990"/>
              <a:gd name="connsiteY138" fmla="*/ 3091542 h 3590232"/>
              <a:gd name="connsiteX139" fmla="*/ 1225855 w 5716990"/>
              <a:gd name="connsiteY139" fmla="*/ 3103983 h 3590232"/>
              <a:gd name="connsiteX140" fmla="*/ 1275619 w 5716990"/>
              <a:gd name="connsiteY140" fmla="*/ 3110204 h 3590232"/>
              <a:gd name="connsiteX141" fmla="*/ 1319162 w 5716990"/>
              <a:gd name="connsiteY141" fmla="*/ 3122645 h 3590232"/>
              <a:gd name="connsiteX142" fmla="*/ 1387586 w 5716990"/>
              <a:gd name="connsiteY142" fmla="*/ 3184849 h 3590232"/>
              <a:gd name="connsiteX143" fmla="*/ 1418688 w 5716990"/>
              <a:gd name="connsiteY143" fmla="*/ 3222171 h 3590232"/>
              <a:gd name="connsiteX144" fmla="*/ 1443570 w 5716990"/>
              <a:gd name="connsiteY144" fmla="*/ 3247053 h 3590232"/>
              <a:gd name="connsiteX145" fmla="*/ 1480892 w 5716990"/>
              <a:gd name="connsiteY145" fmla="*/ 3290596 h 3590232"/>
              <a:gd name="connsiteX146" fmla="*/ 1549317 w 5716990"/>
              <a:gd name="connsiteY146" fmla="*/ 3359020 h 3590232"/>
              <a:gd name="connsiteX147" fmla="*/ 1574198 w 5716990"/>
              <a:gd name="connsiteY147" fmla="*/ 3371461 h 3590232"/>
              <a:gd name="connsiteX148" fmla="*/ 1605300 w 5716990"/>
              <a:gd name="connsiteY148" fmla="*/ 3408783 h 3590232"/>
              <a:gd name="connsiteX149" fmla="*/ 1623962 w 5716990"/>
              <a:gd name="connsiteY149" fmla="*/ 3433665 h 3590232"/>
              <a:gd name="connsiteX150" fmla="*/ 1642623 w 5716990"/>
              <a:gd name="connsiteY150" fmla="*/ 3439885 h 3590232"/>
              <a:gd name="connsiteX151" fmla="*/ 1686166 w 5716990"/>
              <a:gd name="connsiteY151" fmla="*/ 3464767 h 3590232"/>
              <a:gd name="connsiteX152" fmla="*/ 1704827 w 5716990"/>
              <a:gd name="connsiteY152" fmla="*/ 3470987 h 3590232"/>
              <a:gd name="connsiteX153" fmla="*/ 1735929 w 5716990"/>
              <a:gd name="connsiteY153" fmla="*/ 3489649 h 3590232"/>
              <a:gd name="connsiteX154" fmla="*/ 1779472 w 5716990"/>
              <a:gd name="connsiteY154" fmla="*/ 3495869 h 3590232"/>
              <a:gd name="connsiteX155" fmla="*/ 1878998 w 5716990"/>
              <a:gd name="connsiteY155" fmla="*/ 3533191 h 3590232"/>
              <a:gd name="connsiteX156" fmla="*/ 1922541 w 5716990"/>
              <a:gd name="connsiteY156" fmla="*/ 3551853 h 3590232"/>
              <a:gd name="connsiteX157" fmla="*/ 1990966 w 5716990"/>
              <a:gd name="connsiteY157" fmla="*/ 3564293 h 3590232"/>
              <a:gd name="connsiteX158" fmla="*/ 2102933 w 5716990"/>
              <a:gd name="connsiteY158" fmla="*/ 3576734 h 3590232"/>
              <a:gd name="connsiteX159" fmla="*/ 2165137 w 5716990"/>
              <a:gd name="connsiteY159" fmla="*/ 3589175 h 3590232"/>
              <a:gd name="connsiteX160" fmla="*/ 2426394 w 5716990"/>
              <a:gd name="connsiteY160" fmla="*/ 3564293 h 3590232"/>
              <a:gd name="connsiteX161" fmla="*/ 2463717 w 5716990"/>
              <a:gd name="connsiteY161" fmla="*/ 3545632 h 3590232"/>
              <a:gd name="connsiteX162" fmla="*/ 2482378 w 5716990"/>
              <a:gd name="connsiteY162" fmla="*/ 3526971 h 3590232"/>
              <a:gd name="connsiteX163" fmla="*/ 2507260 w 5716990"/>
              <a:gd name="connsiteY163" fmla="*/ 3520751 h 3590232"/>
              <a:gd name="connsiteX164" fmla="*/ 2538362 w 5716990"/>
              <a:gd name="connsiteY164" fmla="*/ 3514530 h 3590232"/>
              <a:gd name="connsiteX165" fmla="*/ 2600566 w 5716990"/>
              <a:gd name="connsiteY165" fmla="*/ 3502089 h 3590232"/>
              <a:gd name="connsiteX166" fmla="*/ 2917806 w 5716990"/>
              <a:gd name="connsiteY166" fmla="*/ 3489649 h 3590232"/>
              <a:gd name="connsiteX167" fmla="*/ 2973790 w 5716990"/>
              <a:gd name="connsiteY167" fmla="*/ 3483428 h 3590232"/>
              <a:gd name="connsiteX168" fmla="*/ 2998672 w 5716990"/>
              <a:gd name="connsiteY168" fmla="*/ 3477208 h 3590232"/>
              <a:gd name="connsiteX169" fmla="*/ 3110639 w 5716990"/>
              <a:gd name="connsiteY169" fmla="*/ 3470987 h 3590232"/>
              <a:gd name="connsiteX170" fmla="*/ 4423145 w 5716990"/>
              <a:gd name="connsiteY170" fmla="*/ 3464767 h 3590232"/>
              <a:gd name="connsiteX171" fmla="*/ 4479129 w 5716990"/>
              <a:gd name="connsiteY171" fmla="*/ 3446106 h 3590232"/>
              <a:gd name="connsiteX172" fmla="*/ 4510231 w 5716990"/>
              <a:gd name="connsiteY172" fmla="*/ 3433665 h 3590232"/>
              <a:gd name="connsiteX173" fmla="*/ 4528892 w 5716990"/>
              <a:gd name="connsiteY173" fmla="*/ 3427445 h 3590232"/>
              <a:gd name="connsiteX174" fmla="*/ 4591096 w 5716990"/>
              <a:gd name="connsiteY174" fmla="*/ 3396342 h 3590232"/>
              <a:gd name="connsiteX175" fmla="*/ 4622198 w 5716990"/>
              <a:gd name="connsiteY175" fmla="*/ 3383902 h 3590232"/>
              <a:gd name="connsiteX176" fmla="*/ 4671962 w 5716990"/>
              <a:gd name="connsiteY176" fmla="*/ 3359020 h 3590232"/>
              <a:gd name="connsiteX177" fmla="*/ 4696843 w 5716990"/>
              <a:gd name="connsiteY177" fmla="*/ 3340359 h 3590232"/>
              <a:gd name="connsiteX178" fmla="*/ 4715504 w 5716990"/>
              <a:gd name="connsiteY178" fmla="*/ 3321698 h 3590232"/>
              <a:gd name="connsiteX179" fmla="*/ 4740386 w 5716990"/>
              <a:gd name="connsiteY179" fmla="*/ 3309257 h 3590232"/>
              <a:gd name="connsiteX180" fmla="*/ 4833692 w 5716990"/>
              <a:gd name="connsiteY180" fmla="*/ 3234612 h 3590232"/>
              <a:gd name="connsiteX181" fmla="*/ 4858574 w 5716990"/>
              <a:gd name="connsiteY181" fmla="*/ 3197289 h 3590232"/>
              <a:gd name="connsiteX182" fmla="*/ 4883455 w 5716990"/>
              <a:gd name="connsiteY182" fmla="*/ 3159967 h 3590232"/>
              <a:gd name="connsiteX183" fmla="*/ 4889676 w 5716990"/>
              <a:gd name="connsiteY183" fmla="*/ 3141306 h 3590232"/>
              <a:gd name="connsiteX184" fmla="*/ 4926998 w 5716990"/>
              <a:gd name="connsiteY184" fmla="*/ 3097763 h 3590232"/>
              <a:gd name="connsiteX185" fmla="*/ 4958100 w 5716990"/>
              <a:gd name="connsiteY185" fmla="*/ 3048000 h 3590232"/>
              <a:gd name="connsiteX186" fmla="*/ 4976762 w 5716990"/>
              <a:gd name="connsiteY186" fmla="*/ 3023118 h 3590232"/>
              <a:gd name="connsiteX187" fmla="*/ 5001643 w 5716990"/>
              <a:gd name="connsiteY187" fmla="*/ 2979575 h 3590232"/>
              <a:gd name="connsiteX188" fmla="*/ 5026525 w 5716990"/>
              <a:gd name="connsiteY188" fmla="*/ 2948473 h 3590232"/>
              <a:gd name="connsiteX189" fmla="*/ 5057627 w 5716990"/>
              <a:gd name="connsiteY189" fmla="*/ 2898710 h 3590232"/>
              <a:gd name="connsiteX190" fmla="*/ 5094949 w 5716990"/>
              <a:gd name="connsiteY190" fmla="*/ 2861387 h 3590232"/>
              <a:gd name="connsiteX191" fmla="*/ 5132272 w 5716990"/>
              <a:gd name="connsiteY191" fmla="*/ 2811624 h 3590232"/>
              <a:gd name="connsiteX192" fmla="*/ 5163374 w 5716990"/>
              <a:gd name="connsiteY192" fmla="*/ 2786742 h 3590232"/>
              <a:gd name="connsiteX193" fmla="*/ 5275341 w 5716990"/>
              <a:gd name="connsiteY193" fmla="*/ 2680996 h 3590232"/>
              <a:gd name="connsiteX194" fmla="*/ 5281562 w 5716990"/>
              <a:gd name="connsiteY194" fmla="*/ 2662334 h 3590232"/>
              <a:gd name="connsiteX195" fmla="*/ 5300223 w 5716990"/>
              <a:gd name="connsiteY195" fmla="*/ 2656114 h 3590232"/>
              <a:gd name="connsiteX196" fmla="*/ 5337545 w 5716990"/>
              <a:gd name="connsiteY196" fmla="*/ 2625012 h 3590232"/>
              <a:gd name="connsiteX197" fmla="*/ 5430851 w 5716990"/>
              <a:gd name="connsiteY197" fmla="*/ 2531706 h 3590232"/>
              <a:gd name="connsiteX198" fmla="*/ 5461953 w 5716990"/>
              <a:gd name="connsiteY198" fmla="*/ 2500604 h 3590232"/>
              <a:gd name="connsiteX199" fmla="*/ 5493055 w 5716990"/>
              <a:gd name="connsiteY199" fmla="*/ 2481942 h 3590232"/>
              <a:gd name="connsiteX200" fmla="*/ 5505496 w 5716990"/>
              <a:gd name="connsiteY200" fmla="*/ 2463281 h 3590232"/>
              <a:gd name="connsiteX201" fmla="*/ 5542819 w 5716990"/>
              <a:gd name="connsiteY201" fmla="*/ 2382416 h 3590232"/>
              <a:gd name="connsiteX202" fmla="*/ 5549039 w 5716990"/>
              <a:gd name="connsiteY202" fmla="*/ 2357534 h 3590232"/>
              <a:gd name="connsiteX203" fmla="*/ 5561480 w 5716990"/>
              <a:gd name="connsiteY203" fmla="*/ 2338873 h 3590232"/>
              <a:gd name="connsiteX204" fmla="*/ 5598802 w 5716990"/>
              <a:gd name="connsiteY204" fmla="*/ 2208245 h 3590232"/>
              <a:gd name="connsiteX205" fmla="*/ 5605023 w 5716990"/>
              <a:gd name="connsiteY205" fmla="*/ 2170922 h 3590232"/>
              <a:gd name="connsiteX206" fmla="*/ 5617464 w 5716990"/>
              <a:gd name="connsiteY206" fmla="*/ 2083836 h 3590232"/>
              <a:gd name="connsiteX207" fmla="*/ 5629904 w 5716990"/>
              <a:gd name="connsiteY207" fmla="*/ 2040293 h 3590232"/>
              <a:gd name="connsiteX208" fmla="*/ 5636125 w 5716990"/>
              <a:gd name="connsiteY208" fmla="*/ 1990530 h 3590232"/>
              <a:gd name="connsiteX209" fmla="*/ 5648566 w 5716990"/>
              <a:gd name="connsiteY209" fmla="*/ 1922106 h 3590232"/>
              <a:gd name="connsiteX210" fmla="*/ 5654786 w 5716990"/>
              <a:gd name="connsiteY210" fmla="*/ 1853681 h 3590232"/>
              <a:gd name="connsiteX211" fmla="*/ 5673447 w 5716990"/>
              <a:gd name="connsiteY211" fmla="*/ 1617306 h 3590232"/>
              <a:gd name="connsiteX212" fmla="*/ 5679668 w 5716990"/>
              <a:gd name="connsiteY212" fmla="*/ 1530220 h 3590232"/>
              <a:gd name="connsiteX213" fmla="*/ 5692109 w 5716990"/>
              <a:gd name="connsiteY213" fmla="*/ 1480457 h 3590232"/>
              <a:gd name="connsiteX214" fmla="*/ 5685888 w 5716990"/>
              <a:gd name="connsiteY214" fmla="*/ 1194318 h 3590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5716990" h="3590232">
                <a:moveTo>
                  <a:pt x="5685888" y="1194318"/>
                </a:moveTo>
                <a:cubicBezTo>
                  <a:pt x="5692108" y="1181877"/>
                  <a:pt x="5699383" y="1169910"/>
                  <a:pt x="5704549" y="1156996"/>
                </a:cubicBezTo>
                <a:cubicBezTo>
                  <a:pt x="5711068" y="1140698"/>
                  <a:pt x="5715149" y="1101462"/>
                  <a:pt x="5716990" y="1088571"/>
                </a:cubicBezTo>
                <a:cubicBezTo>
                  <a:pt x="5712843" y="997338"/>
                  <a:pt x="5709710" y="906054"/>
                  <a:pt x="5704549" y="814873"/>
                </a:cubicBezTo>
                <a:cubicBezTo>
                  <a:pt x="5702603" y="780493"/>
                  <a:pt x="5700507" y="763400"/>
                  <a:pt x="5692109" y="734008"/>
                </a:cubicBezTo>
                <a:cubicBezTo>
                  <a:pt x="5690308" y="727703"/>
                  <a:pt x="5690086" y="720384"/>
                  <a:pt x="5685888" y="715347"/>
                </a:cubicBezTo>
                <a:cubicBezTo>
                  <a:pt x="5679251" y="707382"/>
                  <a:pt x="5668878" y="703432"/>
                  <a:pt x="5661006" y="696685"/>
                </a:cubicBezTo>
                <a:cubicBezTo>
                  <a:pt x="5648458" y="685930"/>
                  <a:pt x="5639977" y="671693"/>
                  <a:pt x="5623684" y="665583"/>
                </a:cubicBezTo>
                <a:cubicBezTo>
                  <a:pt x="5613785" y="661871"/>
                  <a:pt x="5602903" y="661657"/>
                  <a:pt x="5592582" y="659363"/>
                </a:cubicBezTo>
                <a:cubicBezTo>
                  <a:pt x="5584236" y="657508"/>
                  <a:pt x="5575994" y="655216"/>
                  <a:pt x="5567700" y="653142"/>
                </a:cubicBezTo>
                <a:cubicBezTo>
                  <a:pt x="5561480" y="648995"/>
                  <a:pt x="5556131" y="643066"/>
                  <a:pt x="5549039" y="640702"/>
                </a:cubicBezTo>
                <a:cubicBezTo>
                  <a:pt x="5537636" y="636901"/>
                  <a:pt x="5468021" y="629195"/>
                  <a:pt x="5461953" y="628261"/>
                </a:cubicBezTo>
                <a:cubicBezTo>
                  <a:pt x="5411003" y="620423"/>
                  <a:pt x="5426319" y="616635"/>
                  <a:pt x="5356206" y="597159"/>
                </a:cubicBezTo>
                <a:cubicBezTo>
                  <a:pt x="5344054" y="593783"/>
                  <a:pt x="5331325" y="593012"/>
                  <a:pt x="5318884" y="590938"/>
                </a:cubicBezTo>
                <a:cubicBezTo>
                  <a:pt x="5308517" y="586791"/>
                  <a:pt x="5298477" y="581706"/>
                  <a:pt x="5287782" y="578498"/>
                </a:cubicBezTo>
                <a:cubicBezTo>
                  <a:pt x="5277655" y="575460"/>
                  <a:pt x="5266579" y="575989"/>
                  <a:pt x="5256680" y="572277"/>
                </a:cubicBezTo>
                <a:cubicBezTo>
                  <a:pt x="5249680" y="569652"/>
                  <a:pt x="5244510" y="563545"/>
                  <a:pt x="5238019" y="559836"/>
                </a:cubicBezTo>
                <a:cubicBezTo>
                  <a:pt x="5229968" y="555235"/>
                  <a:pt x="5221934" y="550328"/>
                  <a:pt x="5213137" y="547396"/>
                </a:cubicBezTo>
                <a:cubicBezTo>
                  <a:pt x="5203107" y="544053"/>
                  <a:pt x="5192402" y="543249"/>
                  <a:pt x="5182035" y="541175"/>
                </a:cubicBezTo>
                <a:cubicBezTo>
                  <a:pt x="5134565" y="505573"/>
                  <a:pt x="5181846" y="537970"/>
                  <a:pt x="5113611" y="503853"/>
                </a:cubicBezTo>
                <a:cubicBezTo>
                  <a:pt x="5106924" y="500510"/>
                  <a:pt x="5101636" y="494755"/>
                  <a:pt x="5094949" y="491412"/>
                </a:cubicBezTo>
                <a:cubicBezTo>
                  <a:pt x="5080825" y="484350"/>
                  <a:pt x="5065920" y="478971"/>
                  <a:pt x="5051406" y="472751"/>
                </a:cubicBezTo>
                <a:cubicBezTo>
                  <a:pt x="5045186" y="466530"/>
                  <a:pt x="5039783" y="459367"/>
                  <a:pt x="5032745" y="454089"/>
                </a:cubicBezTo>
                <a:cubicBezTo>
                  <a:pt x="5017128" y="442376"/>
                  <a:pt x="4994483" y="431848"/>
                  <a:pt x="4976762" y="422987"/>
                </a:cubicBezTo>
                <a:cubicBezTo>
                  <a:pt x="4972615" y="416767"/>
                  <a:pt x="4970159" y="408996"/>
                  <a:pt x="4964321" y="404326"/>
                </a:cubicBezTo>
                <a:cubicBezTo>
                  <a:pt x="4959201" y="400230"/>
                  <a:pt x="4951687" y="400689"/>
                  <a:pt x="4945660" y="398106"/>
                </a:cubicBezTo>
                <a:cubicBezTo>
                  <a:pt x="4937137" y="394453"/>
                  <a:pt x="4928324" y="391055"/>
                  <a:pt x="4920778" y="385665"/>
                </a:cubicBezTo>
                <a:cubicBezTo>
                  <a:pt x="4913620" y="380552"/>
                  <a:pt x="4909539" y="371727"/>
                  <a:pt x="4902117" y="367004"/>
                </a:cubicBezTo>
                <a:cubicBezTo>
                  <a:pt x="4886470" y="357047"/>
                  <a:pt x="4868941" y="350416"/>
                  <a:pt x="4852353" y="342122"/>
                </a:cubicBezTo>
                <a:cubicBezTo>
                  <a:pt x="4844059" y="337975"/>
                  <a:pt x="4836269" y="332613"/>
                  <a:pt x="4827472" y="329681"/>
                </a:cubicBezTo>
                <a:cubicBezTo>
                  <a:pt x="4815143" y="325571"/>
                  <a:pt x="4772025" y="312010"/>
                  <a:pt x="4759047" y="304800"/>
                </a:cubicBezTo>
                <a:cubicBezTo>
                  <a:pt x="4749984" y="299765"/>
                  <a:pt x="4743604" y="290428"/>
                  <a:pt x="4734166" y="286138"/>
                </a:cubicBezTo>
                <a:cubicBezTo>
                  <a:pt x="4711150" y="275676"/>
                  <a:pt x="4678228" y="271632"/>
                  <a:pt x="4653300" y="267477"/>
                </a:cubicBezTo>
                <a:cubicBezTo>
                  <a:pt x="4642933" y="261257"/>
                  <a:pt x="4633246" y="253726"/>
                  <a:pt x="4622198" y="248816"/>
                </a:cubicBezTo>
                <a:cubicBezTo>
                  <a:pt x="4614386" y="245344"/>
                  <a:pt x="4604963" y="246419"/>
                  <a:pt x="4597317" y="242596"/>
                </a:cubicBezTo>
                <a:cubicBezTo>
                  <a:pt x="4588044" y="237959"/>
                  <a:pt x="4581708" y="228571"/>
                  <a:pt x="4572435" y="223934"/>
                </a:cubicBezTo>
                <a:cubicBezTo>
                  <a:pt x="4564788" y="220111"/>
                  <a:pt x="4555664" y="220417"/>
                  <a:pt x="4547553" y="217714"/>
                </a:cubicBezTo>
                <a:cubicBezTo>
                  <a:pt x="4536960" y="214183"/>
                  <a:pt x="4527123" y="208557"/>
                  <a:pt x="4516451" y="205273"/>
                </a:cubicBezTo>
                <a:cubicBezTo>
                  <a:pt x="4500109" y="200245"/>
                  <a:pt x="4483276" y="196979"/>
                  <a:pt x="4466688" y="192832"/>
                </a:cubicBezTo>
                <a:cubicBezTo>
                  <a:pt x="4450100" y="188685"/>
                  <a:pt x="4433919" y="182279"/>
                  <a:pt x="4416925" y="180391"/>
                </a:cubicBezTo>
                <a:lnTo>
                  <a:pt x="4360941" y="174171"/>
                </a:lnTo>
                <a:cubicBezTo>
                  <a:pt x="4313524" y="162317"/>
                  <a:pt x="4350220" y="170215"/>
                  <a:pt x="4273855" y="161730"/>
                </a:cubicBezTo>
                <a:cubicBezTo>
                  <a:pt x="4257241" y="159884"/>
                  <a:pt x="4240680" y="157583"/>
                  <a:pt x="4224092" y="155510"/>
                </a:cubicBezTo>
                <a:cubicBezTo>
                  <a:pt x="4215798" y="153436"/>
                  <a:pt x="4207069" y="152657"/>
                  <a:pt x="4199211" y="149289"/>
                </a:cubicBezTo>
                <a:cubicBezTo>
                  <a:pt x="4192339" y="146344"/>
                  <a:pt x="4187040" y="140558"/>
                  <a:pt x="4180549" y="136849"/>
                </a:cubicBezTo>
                <a:cubicBezTo>
                  <a:pt x="4172498" y="132249"/>
                  <a:pt x="4163774" y="128911"/>
                  <a:pt x="4155668" y="124408"/>
                </a:cubicBezTo>
                <a:cubicBezTo>
                  <a:pt x="4145099" y="118536"/>
                  <a:pt x="4135573" y="110750"/>
                  <a:pt x="4124566" y="105747"/>
                </a:cubicBezTo>
                <a:cubicBezTo>
                  <a:pt x="4112627" y="100320"/>
                  <a:pt x="4099297" y="98472"/>
                  <a:pt x="4087243" y="93306"/>
                </a:cubicBezTo>
                <a:cubicBezTo>
                  <a:pt x="4072729" y="87086"/>
                  <a:pt x="4058540" y="80042"/>
                  <a:pt x="4043700" y="74645"/>
                </a:cubicBezTo>
                <a:cubicBezTo>
                  <a:pt x="4024717" y="67742"/>
                  <a:pt x="3992773" y="64703"/>
                  <a:pt x="3975276" y="62204"/>
                </a:cubicBezTo>
                <a:cubicBezTo>
                  <a:pt x="3971129" y="55983"/>
                  <a:pt x="3968578" y="48328"/>
                  <a:pt x="3962835" y="43542"/>
                </a:cubicBezTo>
                <a:cubicBezTo>
                  <a:pt x="3947052" y="30389"/>
                  <a:pt x="3925890" y="28343"/>
                  <a:pt x="3906851" y="24881"/>
                </a:cubicBezTo>
                <a:cubicBezTo>
                  <a:pt x="3867404" y="17709"/>
                  <a:pt x="3863005" y="17845"/>
                  <a:pt x="3819766" y="12440"/>
                </a:cubicBezTo>
                <a:cubicBezTo>
                  <a:pt x="3805252" y="8293"/>
                  <a:pt x="3791318" y="92"/>
                  <a:pt x="3776223" y="0"/>
                </a:cubicBezTo>
                <a:lnTo>
                  <a:pt x="2799619" y="6220"/>
                </a:lnTo>
                <a:cubicBezTo>
                  <a:pt x="2792339" y="6310"/>
                  <a:pt x="2759785" y="13696"/>
                  <a:pt x="2749855" y="18661"/>
                </a:cubicBezTo>
                <a:cubicBezTo>
                  <a:pt x="2719449" y="33865"/>
                  <a:pt x="2743803" y="29505"/>
                  <a:pt x="2712533" y="37322"/>
                </a:cubicBezTo>
                <a:cubicBezTo>
                  <a:pt x="2631913" y="57476"/>
                  <a:pt x="2747704" y="21451"/>
                  <a:pt x="2625447" y="62204"/>
                </a:cubicBezTo>
                <a:lnTo>
                  <a:pt x="2588125" y="74645"/>
                </a:lnTo>
                <a:cubicBezTo>
                  <a:pt x="2577758" y="80865"/>
                  <a:pt x="2567837" y="87899"/>
                  <a:pt x="2557023" y="93306"/>
                </a:cubicBezTo>
                <a:cubicBezTo>
                  <a:pt x="2539654" y="101990"/>
                  <a:pt x="2510861" y="103455"/>
                  <a:pt x="2494819" y="105747"/>
                </a:cubicBezTo>
                <a:cubicBezTo>
                  <a:pt x="2486525" y="109894"/>
                  <a:pt x="2478547" y="114743"/>
                  <a:pt x="2469937" y="118187"/>
                </a:cubicBezTo>
                <a:cubicBezTo>
                  <a:pt x="2457761" y="123057"/>
                  <a:pt x="2432615" y="130628"/>
                  <a:pt x="2432615" y="130628"/>
                </a:cubicBezTo>
                <a:cubicBezTo>
                  <a:pt x="2426394" y="134775"/>
                  <a:pt x="2421099" y="140870"/>
                  <a:pt x="2413953" y="143069"/>
                </a:cubicBezTo>
                <a:cubicBezTo>
                  <a:pt x="2393743" y="149288"/>
                  <a:pt x="2351749" y="155510"/>
                  <a:pt x="2351749" y="155510"/>
                </a:cubicBezTo>
                <a:cubicBezTo>
                  <a:pt x="2312960" y="181370"/>
                  <a:pt x="2356715" y="155886"/>
                  <a:pt x="2295766" y="174171"/>
                </a:cubicBezTo>
                <a:cubicBezTo>
                  <a:pt x="2286884" y="176836"/>
                  <a:pt x="2279681" y="183680"/>
                  <a:pt x="2270884" y="186612"/>
                </a:cubicBezTo>
                <a:cubicBezTo>
                  <a:pt x="2262197" y="189508"/>
                  <a:pt x="2208718" y="198010"/>
                  <a:pt x="2202460" y="199053"/>
                </a:cubicBezTo>
                <a:cubicBezTo>
                  <a:pt x="2194166" y="205273"/>
                  <a:pt x="2186851" y="213078"/>
                  <a:pt x="2177578" y="217714"/>
                </a:cubicBezTo>
                <a:cubicBezTo>
                  <a:pt x="2169931" y="221537"/>
                  <a:pt x="2161026" y="222012"/>
                  <a:pt x="2152696" y="223934"/>
                </a:cubicBezTo>
                <a:lnTo>
                  <a:pt x="2096713" y="236375"/>
                </a:lnTo>
                <a:cubicBezTo>
                  <a:pt x="2088383" y="238297"/>
                  <a:pt x="2080020" y="240139"/>
                  <a:pt x="2071831" y="242596"/>
                </a:cubicBezTo>
                <a:cubicBezTo>
                  <a:pt x="2059270" y="246364"/>
                  <a:pt x="2047368" y="252464"/>
                  <a:pt x="2034509" y="255036"/>
                </a:cubicBezTo>
                <a:cubicBezTo>
                  <a:pt x="2016097" y="258718"/>
                  <a:pt x="1997129" y="258720"/>
                  <a:pt x="1978525" y="261257"/>
                </a:cubicBezTo>
                <a:cubicBezTo>
                  <a:pt x="1838201" y="280393"/>
                  <a:pt x="1956681" y="268780"/>
                  <a:pt x="1823015" y="279918"/>
                </a:cubicBezTo>
                <a:cubicBezTo>
                  <a:pt x="1800207" y="284065"/>
                  <a:pt x="1777516" y="288920"/>
                  <a:pt x="1754590" y="292359"/>
                </a:cubicBezTo>
                <a:cubicBezTo>
                  <a:pt x="1719034" y="297692"/>
                  <a:pt x="1694984" y="297023"/>
                  <a:pt x="1661284" y="304800"/>
                </a:cubicBezTo>
                <a:cubicBezTo>
                  <a:pt x="1569969" y="325873"/>
                  <a:pt x="1671843" y="312321"/>
                  <a:pt x="1549317" y="323461"/>
                </a:cubicBezTo>
                <a:cubicBezTo>
                  <a:pt x="1543096" y="325534"/>
                  <a:pt x="1536682" y="327098"/>
                  <a:pt x="1530655" y="329681"/>
                </a:cubicBezTo>
                <a:cubicBezTo>
                  <a:pt x="1522132" y="333334"/>
                  <a:pt x="1514962" y="340869"/>
                  <a:pt x="1505774" y="342122"/>
                </a:cubicBezTo>
                <a:cubicBezTo>
                  <a:pt x="1468737" y="347172"/>
                  <a:pt x="1431103" y="345855"/>
                  <a:pt x="1393806" y="348342"/>
                </a:cubicBezTo>
                <a:cubicBezTo>
                  <a:pt x="1368894" y="350003"/>
                  <a:pt x="1344096" y="353273"/>
                  <a:pt x="1319162" y="354563"/>
                </a:cubicBezTo>
                <a:lnTo>
                  <a:pt x="1033023" y="367004"/>
                </a:lnTo>
                <a:cubicBezTo>
                  <a:pt x="1014362" y="369077"/>
                  <a:pt x="995529" y="369961"/>
                  <a:pt x="977039" y="373224"/>
                </a:cubicBezTo>
                <a:cubicBezTo>
                  <a:pt x="960201" y="376195"/>
                  <a:pt x="944217" y="383355"/>
                  <a:pt x="927276" y="385665"/>
                </a:cubicBezTo>
                <a:cubicBezTo>
                  <a:pt x="898440" y="389597"/>
                  <a:pt x="869245" y="390225"/>
                  <a:pt x="840190" y="391885"/>
                </a:cubicBezTo>
                <a:lnTo>
                  <a:pt x="709562" y="398106"/>
                </a:lnTo>
                <a:lnTo>
                  <a:pt x="610035" y="404326"/>
                </a:lnTo>
                <a:cubicBezTo>
                  <a:pt x="573790" y="411576"/>
                  <a:pt x="564661" y="413173"/>
                  <a:pt x="522949" y="422987"/>
                </a:cubicBezTo>
                <a:cubicBezTo>
                  <a:pt x="506305" y="426903"/>
                  <a:pt x="489774" y="431281"/>
                  <a:pt x="473186" y="435428"/>
                </a:cubicBezTo>
                <a:lnTo>
                  <a:pt x="423423" y="447869"/>
                </a:lnTo>
                <a:cubicBezTo>
                  <a:pt x="415129" y="449942"/>
                  <a:pt x="407048" y="453238"/>
                  <a:pt x="398541" y="454089"/>
                </a:cubicBezTo>
                <a:cubicBezTo>
                  <a:pt x="323787" y="461565"/>
                  <a:pt x="356892" y="456884"/>
                  <a:pt x="299015" y="466530"/>
                </a:cubicBezTo>
                <a:cubicBezTo>
                  <a:pt x="286574" y="472750"/>
                  <a:pt x="274607" y="480025"/>
                  <a:pt x="261692" y="485191"/>
                </a:cubicBezTo>
                <a:cubicBezTo>
                  <a:pt x="252203" y="488987"/>
                  <a:pt x="213474" y="495906"/>
                  <a:pt x="205709" y="497632"/>
                </a:cubicBezTo>
                <a:cubicBezTo>
                  <a:pt x="182283" y="502838"/>
                  <a:pt x="182942" y="503148"/>
                  <a:pt x="162166" y="510073"/>
                </a:cubicBezTo>
                <a:cubicBezTo>
                  <a:pt x="155945" y="516293"/>
                  <a:pt x="150262" y="523102"/>
                  <a:pt x="143504" y="528734"/>
                </a:cubicBezTo>
                <a:cubicBezTo>
                  <a:pt x="130315" y="539725"/>
                  <a:pt x="115173" y="546010"/>
                  <a:pt x="99962" y="553616"/>
                </a:cubicBezTo>
                <a:cubicBezTo>
                  <a:pt x="97888" y="559836"/>
                  <a:pt x="97837" y="567157"/>
                  <a:pt x="93741" y="572277"/>
                </a:cubicBezTo>
                <a:cubicBezTo>
                  <a:pt x="80918" y="588305"/>
                  <a:pt x="50198" y="615820"/>
                  <a:pt x="50198" y="615820"/>
                </a:cubicBezTo>
                <a:cubicBezTo>
                  <a:pt x="48125" y="622040"/>
                  <a:pt x="45779" y="628176"/>
                  <a:pt x="43978" y="634481"/>
                </a:cubicBezTo>
                <a:cubicBezTo>
                  <a:pt x="41629" y="642701"/>
                  <a:pt x="41230" y="651551"/>
                  <a:pt x="37758" y="659363"/>
                </a:cubicBezTo>
                <a:cubicBezTo>
                  <a:pt x="32848" y="670411"/>
                  <a:pt x="25317" y="680098"/>
                  <a:pt x="19096" y="690465"/>
                </a:cubicBezTo>
                <a:cubicBezTo>
                  <a:pt x="17023" y="702906"/>
                  <a:pt x="14543" y="715285"/>
                  <a:pt x="12876" y="727787"/>
                </a:cubicBezTo>
                <a:cubicBezTo>
                  <a:pt x="10394" y="746398"/>
                  <a:pt x="9310" y="765184"/>
                  <a:pt x="6655" y="783771"/>
                </a:cubicBezTo>
                <a:cubicBezTo>
                  <a:pt x="5160" y="794237"/>
                  <a:pt x="2508" y="804506"/>
                  <a:pt x="435" y="814873"/>
                </a:cubicBezTo>
                <a:cubicBezTo>
                  <a:pt x="4322" y="908162"/>
                  <a:pt x="-8754" y="925148"/>
                  <a:pt x="12876" y="982824"/>
                </a:cubicBezTo>
                <a:cubicBezTo>
                  <a:pt x="16797" y="993279"/>
                  <a:pt x="21170" y="1003559"/>
                  <a:pt x="25317" y="1013926"/>
                </a:cubicBezTo>
                <a:cubicBezTo>
                  <a:pt x="27390" y="1026367"/>
                  <a:pt x="28894" y="1038916"/>
                  <a:pt x="31537" y="1051249"/>
                </a:cubicBezTo>
                <a:cubicBezTo>
                  <a:pt x="50537" y="1139916"/>
                  <a:pt x="36666" y="1072312"/>
                  <a:pt x="50198" y="1119673"/>
                </a:cubicBezTo>
                <a:cubicBezTo>
                  <a:pt x="52547" y="1127893"/>
                  <a:pt x="52177" y="1137132"/>
                  <a:pt x="56419" y="1144555"/>
                </a:cubicBezTo>
                <a:cubicBezTo>
                  <a:pt x="60784" y="1152193"/>
                  <a:pt x="68860" y="1156996"/>
                  <a:pt x="75080" y="1163216"/>
                </a:cubicBezTo>
                <a:cubicBezTo>
                  <a:pt x="112324" y="1423939"/>
                  <a:pt x="69195" y="1108356"/>
                  <a:pt x="87521" y="1847461"/>
                </a:cubicBezTo>
                <a:cubicBezTo>
                  <a:pt x="89870" y="1942212"/>
                  <a:pt x="89384" y="1932980"/>
                  <a:pt x="112402" y="1990530"/>
                </a:cubicBezTo>
                <a:cubicBezTo>
                  <a:pt x="116451" y="2026964"/>
                  <a:pt x="118929" y="2054571"/>
                  <a:pt x="124843" y="2090057"/>
                </a:cubicBezTo>
                <a:cubicBezTo>
                  <a:pt x="126581" y="2100486"/>
                  <a:pt x="128990" y="2110792"/>
                  <a:pt x="131064" y="2121159"/>
                </a:cubicBezTo>
                <a:cubicBezTo>
                  <a:pt x="133137" y="2146041"/>
                  <a:pt x="134422" y="2171001"/>
                  <a:pt x="137284" y="2195804"/>
                </a:cubicBezTo>
                <a:cubicBezTo>
                  <a:pt x="140645" y="2224934"/>
                  <a:pt x="146708" y="2253722"/>
                  <a:pt x="149725" y="2282889"/>
                </a:cubicBezTo>
                <a:cubicBezTo>
                  <a:pt x="152932" y="2313895"/>
                  <a:pt x="152303" y="2345238"/>
                  <a:pt x="155945" y="2376196"/>
                </a:cubicBezTo>
                <a:cubicBezTo>
                  <a:pt x="160605" y="2415807"/>
                  <a:pt x="168965" y="2454900"/>
                  <a:pt x="174606" y="2494383"/>
                </a:cubicBezTo>
                <a:cubicBezTo>
                  <a:pt x="176680" y="2508897"/>
                  <a:pt x="177806" y="2523579"/>
                  <a:pt x="180827" y="2537926"/>
                </a:cubicBezTo>
                <a:cubicBezTo>
                  <a:pt x="186111" y="2563023"/>
                  <a:pt x="193268" y="2587689"/>
                  <a:pt x="199488" y="2612571"/>
                </a:cubicBezTo>
                <a:cubicBezTo>
                  <a:pt x="201562" y="2620865"/>
                  <a:pt x="203006" y="2629342"/>
                  <a:pt x="205709" y="2637453"/>
                </a:cubicBezTo>
                <a:cubicBezTo>
                  <a:pt x="209856" y="2649894"/>
                  <a:pt x="215577" y="2661916"/>
                  <a:pt x="218149" y="2674775"/>
                </a:cubicBezTo>
                <a:cubicBezTo>
                  <a:pt x="219724" y="2682647"/>
                  <a:pt x="224706" y="2714240"/>
                  <a:pt x="230590" y="2724538"/>
                </a:cubicBezTo>
                <a:cubicBezTo>
                  <a:pt x="235734" y="2733539"/>
                  <a:pt x="243031" y="2741126"/>
                  <a:pt x="249251" y="2749420"/>
                </a:cubicBezTo>
                <a:cubicBezTo>
                  <a:pt x="261300" y="2797613"/>
                  <a:pt x="245625" y="2753052"/>
                  <a:pt x="274133" y="2792963"/>
                </a:cubicBezTo>
                <a:cubicBezTo>
                  <a:pt x="318348" y="2854865"/>
                  <a:pt x="246462" y="2777733"/>
                  <a:pt x="311455" y="2842726"/>
                </a:cubicBezTo>
                <a:cubicBezTo>
                  <a:pt x="326367" y="2887457"/>
                  <a:pt x="304650" y="2831583"/>
                  <a:pt x="354998" y="2898710"/>
                </a:cubicBezTo>
                <a:cubicBezTo>
                  <a:pt x="366682" y="2914287"/>
                  <a:pt x="376730" y="2930126"/>
                  <a:pt x="392321" y="2942253"/>
                </a:cubicBezTo>
                <a:cubicBezTo>
                  <a:pt x="404123" y="2951433"/>
                  <a:pt x="419071" y="2956562"/>
                  <a:pt x="429643" y="2967134"/>
                </a:cubicBezTo>
                <a:cubicBezTo>
                  <a:pt x="504402" y="3041893"/>
                  <a:pt x="416345" y="2957089"/>
                  <a:pt x="473186" y="3004457"/>
                </a:cubicBezTo>
                <a:cubicBezTo>
                  <a:pt x="479944" y="3010089"/>
                  <a:pt x="484527" y="3018239"/>
                  <a:pt x="491847" y="3023118"/>
                </a:cubicBezTo>
                <a:cubicBezTo>
                  <a:pt x="498287" y="3027411"/>
                  <a:pt x="530656" y="3033784"/>
                  <a:pt x="535390" y="3035559"/>
                </a:cubicBezTo>
                <a:cubicBezTo>
                  <a:pt x="544073" y="3038815"/>
                  <a:pt x="551662" y="3044556"/>
                  <a:pt x="560272" y="3048000"/>
                </a:cubicBezTo>
                <a:cubicBezTo>
                  <a:pt x="646358" y="3082434"/>
                  <a:pt x="682076" y="3061712"/>
                  <a:pt x="809088" y="3066661"/>
                </a:cubicBezTo>
                <a:lnTo>
                  <a:pt x="1076566" y="3079102"/>
                </a:lnTo>
                <a:lnTo>
                  <a:pt x="1132549" y="3085322"/>
                </a:lnTo>
                <a:cubicBezTo>
                  <a:pt x="1153273" y="3087503"/>
                  <a:pt x="1174320" y="3087455"/>
                  <a:pt x="1194753" y="3091542"/>
                </a:cubicBezTo>
                <a:cubicBezTo>
                  <a:pt x="1205702" y="3093732"/>
                  <a:pt x="1214975" y="3101472"/>
                  <a:pt x="1225855" y="3103983"/>
                </a:cubicBezTo>
                <a:cubicBezTo>
                  <a:pt x="1242144" y="3107742"/>
                  <a:pt x="1259129" y="3107456"/>
                  <a:pt x="1275619" y="3110204"/>
                </a:cubicBezTo>
                <a:cubicBezTo>
                  <a:pt x="1291244" y="3112808"/>
                  <a:pt x="1304369" y="3117714"/>
                  <a:pt x="1319162" y="3122645"/>
                </a:cubicBezTo>
                <a:cubicBezTo>
                  <a:pt x="1353411" y="3174022"/>
                  <a:pt x="1298201" y="3095464"/>
                  <a:pt x="1387586" y="3184849"/>
                </a:cubicBezTo>
                <a:cubicBezTo>
                  <a:pt x="1452295" y="3249558"/>
                  <a:pt x="1366726" y="3161549"/>
                  <a:pt x="1418688" y="3222171"/>
                </a:cubicBezTo>
                <a:cubicBezTo>
                  <a:pt x="1426321" y="3231077"/>
                  <a:pt x="1436844" y="3237444"/>
                  <a:pt x="1443570" y="3247053"/>
                </a:cubicBezTo>
                <a:cubicBezTo>
                  <a:pt x="1476430" y="3293996"/>
                  <a:pt x="1443725" y="3278206"/>
                  <a:pt x="1480892" y="3290596"/>
                </a:cubicBezTo>
                <a:cubicBezTo>
                  <a:pt x="1503700" y="3313404"/>
                  <a:pt x="1520467" y="3344594"/>
                  <a:pt x="1549317" y="3359020"/>
                </a:cubicBezTo>
                <a:cubicBezTo>
                  <a:pt x="1557611" y="3363167"/>
                  <a:pt x="1566653" y="3366071"/>
                  <a:pt x="1574198" y="3371461"/>
                </a:cubicBezTo>
                <a:cubicBezTo>
                  <a:pt x="1591144" y="3383565"/>
                  <a:pt x="1593931" y="3392866"/>
                  <a:pt x="1605300" y="3408783"/>
                </a:cubicBezTo>
                <a:cubicBezTo>
                  <a:pt x="1611326" y="3417219"/>
                  <a:pt x="1615997" y="3427028"/>
                  <a:pt x="1623962" y="3433665"/>
                </a:cubicBezTo>
                <a:cubicBezTo>
                  <a:pt x="1628999" y="3437863"/>
                  <a:pt x="1636758" y="3436953"/>
                  <a:pt x="1642623" y="3439885"/>
                </a:cubicBezTo>
                <a:cubicBezTo>
                  <a:pt x="1657575" y="3447361"/>
                  <a:pt x="1671214" y="3457291"/>
                  <a:pt x="1686166" y="3464767"/>
                </a:cubicBezTo>
                <a:cubicBezTo>
                  <a:pt x="1692031" y="3467699"/>
                  <a:pt x="1698962" y="3468055"/>
                  <a:pt x="1704827" y="3470987"/>
                </a:cubicBezTo>
                <a:cubicBezTo>
                  <a:pt x="1715641" y="3476394"/>
                  <a:pt x="1724459" y="3485826"/>
                  <a:pt x="1735929" y="3489649"/>
                </a:cubicBezTo>
                <a:cubicBezTo>
                  <a:pt x="1749838" y="3494285"/>
                  <a:pt x="1764958" y="3493796"/>
                  <a:pt x="1779472" y="3495869"/>
                </a:cubicBezTo>
                <a:cubicBezTo>
                  <a:pt x="1898130" y="3561791"/>
                  <a:pt x="1780079" y="3504928"/>
                  <a:pt x="1878998" y="3533191"/>
                </a:cubicBezTo>
                <a:cubicBezTo>
                  <a:pt x="1894182" y="3537529"/>
                  <a:pt x="1907326" y="3547627"/>
                  <a:pt x="1922541" y="3551853"/>
                </a:cubicBezTo>
                <a:cubicBezTo>
                  <a:pt x="1944877" y="3558058"/>
                  <a:pt x="1968099" y="3560482"/>
                  <a:pt x="1990966" y="3564293"/>
                </a:cubicBezTo>
                <a:cubicBezTo>
                  <a:pt x="2036385" y="3571863"/>
                  <a:pt x="2052391" y="3572140"/>
                  <a:pt x="2102933" y="3576734"/>
                </a:cubicBezTo>
                <a:cubicBezTo>
                  <a:pt x="2123668" y="3580881"/>
                  <a:pt x="2143992" y="3589175"/>
                  <a:pt x="2165137" y="3589175"/>
                </a:cubicBezTo>
                <a:cubicBezTo>
                  <a:pt x="2170150" y="3589175"/>
                  <a:pt x="2358846" y="3598066"/>
                  <a:pt x="2426394" y="3564293"/>
                </a:cubicBezTo>
                <a:lnTo>
                  <a:pt x="2463717" y="3545632"/>
                </a:lnTo>
                <a:cubicBezTo>
                  <a:pt x="2469937" y="3539412"/>
                  <a:pt x="2474740" y="3531335"/>
                  <a:pt x="2482378" y="3526971"/>
                </a:cubicBezTo>
                <a:cubicBezTo>
                  <a:pt x="2489801" y="3522729"/>
                  <a:pt x="2498914" y="3522606"/>
                  <a:pt x="2507260" y="3520751"/>
                </a:cubicBezTo>
                <a:cubicBezTo>
                  <a:pt x="2517581" y="3518457"/>
                  <a:pt x="2528105" y="3517094"/>
                  <a:pt x="2538362" y="3514530"/>
                </a:cubicBezTo>
                <a:cubicBezTo>
                  <a:pt x="2574332" y="3505537"/>
                  <a:pt x="2542931" y="3505070"/>
                  <a:pt x="2600566" y="3502089"/>
                </a:cubicBezTo>
                <a:cubicBezTo>
                  <a:pt x="2706253" y="3496623"/>
                  <a:pt x="2812059" y="3493796"/>
                  <a:pt x="2917806" y="3489649"/>
                </a:cubicBezTo>
                <a:cubicBezTo>
                  <a:pt x="2936467" y="3487575"/>
                  <a:pt x="2955232" y="3486283"/>
                  <a:pt x="2973790" y="3483428"/>
                </a:cubicBezTo>
                <a:cubicBezTo>
                  <a:pt x="2982240" y="3482128"/>
                  <a:pt x="2990158" y="3477982"/>
                  <a:pt x="2998672" y="3477208"/>
                </a:cubicBezTo>
                <a:cubicBezTo>
                  <a:pt x="3035898" y="3473824"/>
                  <a:pt x="3073261" y="3471313"/>
                  <a:pt x="3110639" y="3470987"/>
                </a:cubicBezTo>
                <a:lnTo>
                  <a:pt x="4423145" y="3464767"/>
                </a:lnTo>
                <a:cubicBezTo>
                  <a:pt x="4459433" y="3440574"/>
                  <a:pt x="4422398" y="3461578"/>
                  <a:pt x="4479129" y="3446106"/>
                </a:cubicBezTo>
                <a:cubicBezTo>
                  <a:pt x="4489902" y="3443168"/>
                  <a:pt x="4499776" y="3437586"/>
                  <a:pt x="4510231" y="3433665"/>
                </a:cubicBezTo>
                <a:cubicBezTo>
                  <a:pt x="4516370" y="3431363"/>
                  <a:pt x="4522939" y="3430193"/>
                  <a:pt x="4528892" y="3427445"/>
                </a:cubicBezTo>
                <a:cubicBezTo>
                  <a:pt x="4549940" y="3417730"/>
                  <a:pt x="4569572" y="3404951"/>
                  <a:pt x="4591096" y="3396342"/>
                </a:cubicBezTo>
                <a:cubicBezTo>
                  <a:pt x="4601463" y="3392195"/>
                  <a:pt x="4612211" y="3388896"/>
                  <a:pt x="4622198" y="3383902"/>
                </a:cubicBezTo>
                <a:cubicBezTo>
                  <a:pt x="4680958" y="3354522"/>
                  <a:pt x="4629879" y="3373046"/>
                  <a:pt x="4671962" y="3359020"/>
                </a:cubicBezTo>
                <a:cubicBezTo>
                  <a:pt x="4680256" y="3352800"/>
                  <a:pt x="4688972" y="3347106"/>
                  <a:pt x="4696843" y="3340359"/>
                </a:cubicBezTo>
                <a:cubicBezTo>
                  <a:pt x="4703522" y="3334634"/>
                  <a:pt x="4708346" y="3326811"/>
                  <a:pt x="4715504" y="3321698"/>
                </a:cubicBezTo>
                <a:cubicBezTo>
                  <a:pt x="4723050" y="3316308"/>
                  <a:pt x="4733036" y="3314911"/>
                  <a:pt x="4740386" y="3309257"/>
                </a:cubicBezTo>
                <a:cubicBezTo>
                  <a:pt x="4885889" y="3197331"/>
                  <a:pt x="4728680" y="3304619"/>
                  <a:pt x="4833692" y="3234612"/>
                </a:cubicBezTo>
                <a:cubicBezTo>
                  <a:pt x="4845590" y="3198923"/>
                  <a:pt x="4831393" y="3232236"/>
                  <a:pt x="4858574" y="3197289"/>
                </a:cubicBezTo>
                <a:cubicBezTo>
                  <a:pt x="4867753" y="3185487"/>
                  <a:pt x="4876194" y="3173037"/>
                  <a:pt x="4883455" y="3159967"/>
                </a:cubicBezTo>
                <a:cubicBezTo>
                  <a:pt x="4886639" y="3154235"/>
                  <a:pt x="4885916" y="3146678"/>
                  <a:pt x="4889676" y="3141306"/>
                </a:cubicBezTo>
                <a:cubicBezTo>
                  <a:pt x="4900639" y="3125645"/>
                  <a:pt x="4915693" y="3113179"/>
                  <a:pt x="4926998" y="3097763"/>
                </a:cubicBezTo>
                <a:cubicBezTo>
                  <a:pt x="4938566" y="3081989"/>
                  <a:pt x="4946363" y="3063649"/>
                  <a:pt x="4958100" y="3048000"/>
                </a:cubicBezTo>
                <a:cubicBezTo>
                  <a:pt x="4964321" y="3039706"/>
                  <a:pt x="4971196" y="3031865"/>
                  <a:pt x="4976762" y="3023118"/>
                </a:cubicBezTo>
                <a:cubicBezTo>
                  <a:pt x="4985737" y="3009015"/>
                  <a:pt x="4992370" y="2993484"/>
                  <a:pt x="5001643" y="2979575"/>
                </a:cubicBezTo>
                <a:cubicBezTo>
                  <a:pt x="5009008" y="2968528"/>
                  <a:pt x="5018968" y="2959389"/>
                  <a:pt x="5026525" y="2948473"/>
                </a:cubicBezTo>
                <a:cubicBezTo>
                  <a:pt x="5037659" y="2932390"/>
                  <a:pt x="5045542" y="2914091"/>
                  <a:pt x="5057627" y="2898710"/>
                </a:cubicBezTo>
                <a:cubicBezTo>
                  <a:pt x="5068497" y="2884875"/>
                  <a:pt x="5083499" y="2874745"/>
                  <a:pt x="5094949" y="2861387"/>
                </a:cubicBezTo>
                <a:cubicBezTo>
                  <a:pt x="5108443" y="2845644"/>
                  <a:pt x="5118261" y="2826909"/>
                  <a:pt x="5132272" y="2811624"/>
                </a:cubicBezTo>
                <a:cubicBezTo>
                  <a:pt x="5141243" y="2801837"/>
                  <a:pt x="5153688" y="2795823"/>
                  <a:pt x="5163374" y="2786742"/>
                </a:cubicBezTo>
                <a:cubicBezTo>
                  <a:pt x="5309030" y="2650189"/>
                  <a:pt x="5169547" y="2771675"/>
                  <a:pt x="5275341" y="2680996"/>
                </a:cubicBezTo>
                <a:cubicBezTo>
                  <a:pt x="5277415" y="2674775"/>
                  <a:pt x="5276925" y="2666971"/>
                  <a:pt x="5281562" y="2662334"/>
                </a:cubicBezTo>
                <a:cubicBezTo>
                  <a:pt x="5286198" y="2657698"/>
                  <a:pt x="5294767" y="2659751"/>
                  <a:pt x="5300223" y="2656114"/>
                </a:cubicBezTo>
                <a:cubicBezTo>
                  <a:pt x="5313697" y="2647131"/>
                  <a:pt x="5325772" y="2636131"/>
                  <a:pt x="5337545" y="2625012"/>
                </a:cubicBezTo>
                <a:lnTo>
                  <a:pt x="5430851" y="2531706"/>
                </a:lnTo>
                <a:cubicBezTo>
                  <a:pt x="5441218" y="2521339"/>
                  <a:pt x="5449381" y="2508148"/>
                  <a:pt x="5461953" y="2500604"/>
                </a:cubicBezTo>
                <a:lnTo>
                  <a:pt x="5493055" y="2481942"/>
                </a:lnTo>
                <a:cubicBezTo>
                  <a:pt x="5497202" y="2475722"/>
                  <a:pt x="5502363" y="2470069"/>
                  <a:pt x="5505496" y="2463281"/>
                </a:cubicBezTo>
                <a:cubicBezTo>
                  <a:pt x="5546984" y="2373392"/>
                  <a:pt x="5513361" y="2426602"/>
                  <a:pt x="5542819" y="2382416"/>
                </a:cubicBezTo>
                <a:cubicBezTo>
                  <a:pt x="5544892" y="2374122"/>
                  <a:pt x="5545671" y="2365392"/>
                  <a:pt x="5549039" y="2357534"/>
                </a:cubicBezTo>
                <a:cubicBezTo>
                  <a:pt x="5551984" y="2350662"/>
                  <a:pt x="5559332" y="2346034"/>
                  <a:pt x="5561480" y="2338873"/>
                </a:cubicBezTo>
                <a:cubicBezTo>
                  <a:pt x="5607054" y="2186962"/>
                  <a:pt x="5565414" y="2275025"/>
                  <a:pt x="5598802" y="2208245"/>
                </a:cubicBezTo>
                <a:cubicBezTo>
                  <a:pt x="5600876" y="2195804"/>
                  <a:pt x="5603152" y="2183395"/>
                  <a:pt x="5605023" y="2170922"/>
                </a:cubicBezTo>
                <a:cubicBezTo>
                  <a:pt x="5609373" y="2141923"/>
                  <a:pt x="5609409" y="2112031"/>
                  <a:pt x="5617464" y="2083836"/>
                </a:cubicBezTo>
                <a:lnTo>
                  <a:pt x="5629904" y="2040293"/>
                </a:lnTo>
                <a:cubicBezTo>
                  <a:pt x="5631978" y="2023705"/>
                  <a:pt x="5633583" y="2007052"/>
                  <a:pt x="5636125" y="1990530"/>
                </a:cubicBezTo>
                <a:cubicBezTo>
                  <a:pt x="5642995" y="1945879"/>
                  <a:pt x="5642782" y="1971266"/>
                  <a:pt x="5648566" y="1922106"/>
                </a:cubicBezTo>
                <a:cubicBezTo>
                  <a:pt x="5651242" y="1899360"/>
                  <a:pt x="5653263" y="1876533"/>
                  <a:pt x="5654786" y="1853681"/>
                </a:cubicBezTo>
                <a:cubicBezTo>
                  <a:pt x="5670082" y="1624242"/>
                  <a:pt x="5649815" y="1711838"/>
                  <a:pt x="5673447" y="1617306"/>
                </a:cubicBezTo>
                <a:cubicBezTo>
                  <a:pt x="5675521" y="1588277"/>
                  <a:pt x="5675736" y="1559056"/>
                  <a:pt x="5679668" y="1530220"/>
                </a:cubicBezTo>
                <a:cubicBezTo>
                  <a:pt x="5681978" y="1513279"/>
                  <a:pt x="5692109" y="1497555"/>
                  <a:pt x="5692109" y="1480457"/>
                </a:cubicBezTo>
                <a:lnTo>
                  <a:pt x="5685888" y="1194318"/>
                </a:lnTo>
                <a:close/>
              </a:path>
            </a:pathLst>
          </a:cu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7659443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6996F6F-F87D-4EB4-A2AC-55DD4B544779}"/>
              </a:ext>
            </a:extLst>
          </p:cNvPr>
          <p:cNvSpPr>
            <a:spLocks noGrp="1"/>
          </p:cNvSpPr>
          <p:nvPr>
            <p:ph type="title"/>
          </p:nvPr>
        </p:nvSpPr>
        <p:spPr>
          <a:xfrm>
            <a:off x="400634" y="-168110"/>
            <a:ext cx="10515600" cy="1325563"/>
          </a:xfrm>
        </p:spPr>
        <p:txBody>
          <a:bodyPr/>
          <a:lstStyle/>
          <a:p>
            <a:r>
              <a:rPr lang="en-GB" dirty="0"/>
              <a:t>What is positive deviance (PD)?</a:t>
            </a:r>
          </a:p>
        </p:txBody>
      </p:sp>
      <p:sp>
        <p:nvSpPr>
          <p:cNvPr id="5" name="Content Placeholder 4">
            <a:extLst>
              <a:ext uri="{FF2B5EF4-FFF2-40B4-BE49-F238E27FC236}">
                <a16:creationId xmlns:a16="http://schemas.microsoft.com/office/drawing/2014/main" id="{AE9151EF-353A-4183-9A5B-5B335B30EBF0}"/>
              </a:ext>
            </a:extLst>
          </p:cNvPr>
          <p:cNvSpPr>
            <a:spLocks noGrp="1"/>
          </p:cNvSpPr>
          <p:nvPr>
            <p:ph idx="1"/>
          </p:nvPr>
        </p:nvSpPr>
        <p:spPr>
          <a:xfrm>
            <a:off x="0" y="1157453"/>
            <a:ext cx="11357539" cy="4351338"/>
          </a:xfrm>
        </p:spPr>
        <p:txBody>
          <a:bodyPr/>
          <a:lstStyle/>
          <a:p>
            <a:pPr marL="0" indent="0" algn="ctr">
              <a:buNone/>
            </a:pPr>
            <a:endParaRPr lang="en-GB" sz="1800" dirty="0">
              <a:latin typeface="Calibri" panose="020F0502020204030204" pitchFamily="34" charset="0"/>
              <a:ea typeface="Calibri" panose="020F0502020204030204" pitchFamily="34" charset="0"/>
              <a:cs typeface="Calibri" panose="020F0502020204030204" pitchFamily="34" charset="0"/>
            </a:endParaRPr>
          </a:p>
          <a:p>
            <a:pPr marL="0" indent="0" algn="ctr">
              <a:buNone/>
            </a:pP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gn="ctr"/>
            <a:endParaRPr lang="en-GB" dirty="0"/>
          </a:p>
        </p:txBody>
      </p:sp>
      <p:pic>
        <p:nvPicPr>
          <p:cNvPr id="2050" name="Picture 2" descr="Pin on Positive Deviance">
            <a:extLst>
              <a:ext uri="{FF2B5EF4-FFF2-40B4-BE49-F238E27FC236}">
                <a16:creationId xmlns:a16="http://schemas.microsoft.com/office/drawing/2014/main" id="{D8A756F3-FA28-4D5D-9338-459AE3740F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57675" y="1157453"/>
            <a:ext cx="7947302" cy="435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992474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9E8B02-791B-4FFE-B8FF-852B9AD04B28}"/>
              </a:ext>
            </a:extLst>
          </p:cNvPr>
          <p:cNvSpPr>
            <a:spLocks noGrp="1"/>
          </p:cNvSpPr>
          <p:nvPr>
            <p:ph type="title"/>
          </p:nvPr>
        </p:nvSpPr>
        <p:spPr/>
        <p:txBody>
          <a:bodyPr/>
          <a:lstStyle/>
          <a:p>
            <a:r>
              <a:rPr lang="en-GB" dirty="0"/>
              <a:t>What we know</a:t>
            </a:r>
          </a:p>
        </p:txBody>
      </p:sp>
      <p:sp>
        <p:nvSpPr>
          <p:cNvPr id="3" name="Content Placeholder 2">
            <a:extLst>
              <a:ext uri="{FF2B5EF4-FFF2-40B4-BE49-F238E27FC236}">
                <a16:creationId xmlns:a16="http://schemas.microsoft.com/office/drawing/2014/main" id="{3B794B38-0F14-4F0F-B734-DC3BBE6D1CD8}"/>
              </a:ext>
            </a:extLst>
          </p:cNvPr>
          <p:cNvSpPr>
            <a:spLocks noGrp="1"/>
          </p:cNvSpPr>
          <p:nvPr>
            <p:ph idx="1"/>
          </p:nvPr>
        </p:nvSpPr>
        <p:spPr>
          <a:xfrm>
            <a:off x="411480" y="1171097"/>
            <a:ext cx="10991850" cy="5123657"/>
          </a:xfrm>
        </p:spPr>
        <p:txBody>
          <a:bodyPr/>
          <a:lstStyle/>
          <a:p>
            <a:r>
              <a:rPr lang="en-GB"/>
              <a:t>We should always </a:t>
            </a:r>
            <a:r>
              <a:rPr lang="en-GB" dirty="0"/>
              <a:t>lead with aim:</a:t>
            </a:r>
          </a:p>
          <a:p>
            <a:pPr lvl="1"/>
            <a:r>
              <a:rPr lang="en-GB" dirty="0"/>
              <a:t>The aim determines the methodology</a:t>
            </a:r>
          </a:p>
          <a:p>
            <a:pPr lvl="1"/>
            <a:r>
              <a:rPr lang="en-GB" dirty="0"/>
              <a:t>The aim (shared purpose) unites people, methodology doesn’t </a:t>
            </a:r>
          </a:p>
          <a:p>
            <a:pPr lvl="1"/>
            <a:r>
              <a:rPr lang="en-GB" dirty="0"/>
              <a:t>The methodology is critical but in the background</a:t>
            </a:r>
          </a:p>
          <a:p>
            <a:r>
              <a:rPr lang="en-GB" dirty="0"/>
              <a:t>All of these approaches can and should be combined with improvement methodologies</a:t>
            </a:r>
          </a:p>
          <a:p>
            <a:r>
              <a:rPr lang="en-GB" dirty="0"/>
              <a:t>When we work through community, the question “who are our people?” comes before “what is our aim?”</a:t>
            </a:r>
          </a:p>
          <a:p>
            <a:r>
              <a:rPr lang="en-GB" dirty="0"/>
              <a:t>Once you put your toe in the water, you can’t take it out again</a:t>
            </a:r>
          </a:p>
        </p:txBody>
      </p:sp>
    </p:spTree>
    <p:extLst>
      <p:ext uri="{BB962C8B-B14F-4D97-AF65-F5344CB8AC3E}">
        <p14:creationId xmlns:p14="http://schemas.microsoft.com/office/powerpoint/2010/main" val="38326241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a:extLst>
              <a:ext uri="{FF2B5EF4-FFF2-40B4-BE49-F238E27FC236}">
                <a16:creationId xmlns:a16="http://schemas.microsoft.com/office/drawing/2014/main" id="{00A532CD-D6C5-4AC4-AE7C-972A7760DD06}"/>
              </a:ext>
            </a:extLst>
          </p:cNvPr>
          <p:cNvPicPr>
            <a:picLocks noChangeAspect="1"/>
          </p:cNvPicPr>
          <p:nvPr/>
        </p:nvPicPr>
        <p:blipFill>
          <a:blip r:embed="rId2"/>
          <a:stretch>
            <a:fillRect/>
          </a:stretch>
        </p:blipFill>
        <p:spPr>
          <a:xfrm rot="20613968">
            <a:off x="2911442" y="5895317"/>
            <a:ext cx="1930472" cy="302025"/>
          </a:xfrm>
          <a:prstGeom prst="rect">
            <a:avLst/>
          </a:prstGeom>
        </p:spPr>
      </p:pic>
      <p:sp>
        <p:nvSpPr>
          <p:cNvPr id="4" name="Isosceles Triangle 3">
            <a:extLst>
              <a:ext uri="{FF2B5EF4-FFF2-40B4-BE49-F238E27FC236}">
                <a16:creationId xmlns:a16="http://schemas.microsoft.com/office/drawing/2014/main" id="{DFC8B000-3083-4B54-ABF6-BC0C62E97E25}"/>
              </a:ext>
            </a:extLst>
          </p:cNvPr>
          <p:cNvSpPr/>
          <p:nvPr/>
        </p:nvSpPr>
        <p:spPr>
          <a:xfrm>
            <a:off x="2200275" y="6248400"/>
            <a:ext cx="809625" cy="506968"/>
          </a:xfrm>
          <a:prstGeom prst="triangle">
            <a:avLst>
              <a:gd name="adj" fmla="val 5588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E00E2253-5BFD-4EF7-8691-193F112F7B1C}"/>
              </a:ext>
            </a:extLst>
          </p:cNvPr>
          <p:cNvPicPr>
            <a:picLocks noChangeAspect="1"/>
          </p:cNvPicPr>
          <p:nvPr/>
        </p:nvPicPr>
        <p:blipFill>
          <a:blip r:embed="rId3"/>
          <a:stretch>
            <a:fillRect/>
          </a:stretch>
        </p:blipFill>
        <p:spPr>
          <a:xfrm>
            <a:off x="769068" y="4729163"/>
            <a:ext cx="1507406" cy="1355062"/>
          </a:xfrm>
          <a:prstGeom prst="rect">
            <a:avLst/>
          </a:prstGeom>
        </p:spPr>
      </p:pic>
      <p:pic>
        <p:nvPicPr>
          <p:cNvPr id="12" name="Picture 11">
            <a:extLst>
              <a:ext uri="{FF2B5EF4-FFF2-40B4-BE49-F238E27FC236}">
                <a16:creationId xmlns:a16="http://schemas.microsoft.com/office/drawing/2014/main" id="{39026A01-BBDF-424C-83FE-C5D4860A702F}"/>
              </a:ext>
            </a:extLst>
          </p:cNvPr>
          <p:cNvPicPr>
            <a:picLocks noChangeAspect="1"/>
          </p:cNvPicPr>
          <p:nvPr/>
        </p:nvPicPr>
        <p:blipFill>
          <a:blip r:embed="rId4"/>
          <a:stretch>
            <a:fillRect/>
          </a:stretch>
        </p:blipFill>
        <p:spPr>
          <a:xfrm>
            <a:off x="2381488" y="1172754"/>
            <a:ext cx="9439275" cy="4562475"/>
          </a:xfrm>
          <a:prstGeom prst="rect">
            <a:avLst/>
          </a:prstGeom>
        </p:spPr>
      </p:pic>
      <p:sp>
        <p:nvSpPr>
          <p:cNvPr id="5" name="Rectangle 4">
            <a:extLst>
              <a:ext uri="{FF2B5EF4-FFF2-40B4-BE49-F238E27FC236}">
                <a16:creationId xmlns:a16="http://schemas.microsoft.com/office/drawing/2014/main" id="{3DA40B86-7777-45D6-9D7B-8CCC51921FED}"/>
              </a:ext>
            </a:extLst>
          </p:cNvPr>
          <p:cNvSpPr/>
          <p:nvPr/>
        </p:nvSpPr>
        <p:spPr>
          <a:xfrm rot="9740743" flipV="1">
            <a:off x="998898" y="4911644"/>
            <a:ext cx="10845842" cy="14267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Oval 12">
            <a:extLst>
              <a:ext uri="{FF2B5EF4-FFF2-40B4-BE49-F238E27FC236}">
                <a16:creationId xmlns:a16="http://schemas.microsoft.com/office/drawing/2014/main" id="{5698C614-FCDB-4B00-AF70-9F6DD691EDE1}"/>
              </a:ext>
            </a:extLst>
          </p:cNvPr>
          <p:cNvSpPr/>
          <p:nvPr/>
        </p:nvSpPr>
        <p:spPr>
          <a:xfrm>
            <a:off x="2990850" y="5886450"/>
            <a:ext cx="250229" cy="271975"/>
          </a:xfrm>
          <a:prstGeom prst="ellipse">
            <a:avLst/>
          </a:prstGeom>
          <a:solidFill>
            <a:srgbClr val="B3F7B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434C6EA8-C8D3-42F2-9B55-57B76CE5F2F2}"/>
              </a:ext>
            </a:extLst>
          </p:cNvPr>
          <p:cNvSpPr txBox="1"/>
          <p:nvPr/>
        </p:nvSpPr>
        <p:spPr>
          <a:xfrm>
            <a:off x="2912997" y="5837259"/>
            <a:ext cx="47963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rPr>
              <a:t>12</a:t>
            </a:r>
          </a:p>
        </p:txBody>
      </p:sp>
      <p:sp>
        <p:nvSpPr>
          <p:cNvPr id="17" name="Oval 16">
            <a:extLst>
              <a:ext uri="{FF2B5EF4-FFF2-40B4-BE49-F238E27FC236}">
                <a16:creationId xmlns:a16="http://schemas.microsoft.com/office/drawing/2014/main" id="{B2882236-FE0C-417C-9DB3-30F7C7020CA9}"/>
              </a:ext>
            </a:extLst>
          </p:cNvPr>
          <p:cNvSpPr/>
          <p:nvPr/>
        </p:nvSpPr>
        <p:spPr>
          <a:xfrm>
            <a:off x="3779746" y="5638287"/>
            <a:ext cx="250229" cy="271975"/>
          </a:xfrm>
          <a:prstGeom prst="ellipse">
            <a:avLst/>
          </a:prstGeom>
          <a:solidFill>
            <a:srgbClr val="B3F7B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06986E8D-1E81-4023-A14E-ADFD0A6C42CD}"/>
              </a:ext>
            </a:extLst>
          </p:cNvPr>
          <p:cNvSpPr txBox="1"/>
          <p:nvPr/>
        </p:nvSpPr>
        <p:spPr>
          <a:xfrm>
            <a:off x="3710267" y="5607171"/>
            <a:ext cx="47963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rPr>
              <a:t>11</a:t>
            </a:r>
          </a:p>
        </p:txBody>
      </p:sp>
      <p:sp>
        <p:nvSpPr>
          <p:cNvPr id="19" name="Oval 18">
            <a:extLst>
              <a:ext uri="{FF2B5EF4-FFF2-40B4-BE49-F238E27FC236}">
                <a16:creationId xmlns:a16="http://schemas.microsoft.com/office/drawing/2014/main" id="{E0109D5B-0670-4818-8CF4-AF0232DA5BC6}"/>
              </a:ext>
            </a:extLst>
          </p:cNvPr>
          <p:cNvSpPr/>
          <p:nvPr/>
        </p:nvSpPr>
        <p:spPr>
          <a:xfrm>
            <a:off x="4364110" y="5463287"/>
            <a:ext cx="250229" cy="271975"/>
          </a:xfrm>
          <a:prstGeom prst="ellipse">
            <a:avLst/>
          </a:prstGeom>
          <a:solidFill>
            <a:srgbClr val="B3F7B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1AF1EE7A-6A67-4536-A8E8-F1A205E5C714}"/>
              </a:ext>
            </a:extLst>
          </p:cNvPr>
          <p:cNvSpPr txBox="1"/>
          <p:nvPr/>
        </p:nvSpPr>
        <p:spPr>
          <a:xfrm>
            <a:off x="4298720" y="5418255"/>
            <a:ext cx="47963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rPr>
              <a:t>10</a:t>
            </a:r>
          </a:p>
        </p:txBody>
      </p:sp>
      <p:sp>
        <p:nvSpPr>
          <p:cNvPr id="21" name="Oval 20">
            <a:extLst>
              <a:ext uri="{FF2B5EF4-FFF2-40B4-BE49-F238E27FC236}">
                <a16:creationId xmlns:a16="http://schemas.microsoft.com/office/drawing/2014/main" id="{FD9B6284-3E14-4B4E-B1AD-12B296255ECB}"/>
              </a:ext>
            </a:extLst>
          </p:cNvPr>
          <p:cNvSpPr/>
          <p:nvPr/>
        </p:nvSpPr>
        <p:spPr>
          <a:xfrm>
            <a:off x="5038725" y="5238750"/>
            <a:ext cx="250229" cy="271975"/>
          </a:xfrm>
          <a:prstGeom prst="ellipse">
            <a:avLst/>
          </a:prstGeom>
          <a:solidFill>
            <a:srgbClr val="B3F7B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016316A1-65E3-402E-B228-A699DFDE5144}"/>
              </a:ext>
            </a:extLst>
          </p:cNvPr>
          <p:cNvSpPr txBox="1"/>
          <p:nvPr/>
        </p:nvSpPr>
        <p:spPr>
          <a:xfrm>
            <a:off x="5018022" y="5189559"/>
            <a:ext cx="47963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rPr>
              <a:t>9</a:t>
            </a:r>
          </a:p>
        </p:txBody>
      </p:sp>
      <p:sp>
        <p:nvSpPr>
          <p:cNvPr id="25" name="Oval 24">
            <a:extLst>
              <a:ext uri="{FF2B5EF4-FFF2-40B4-BE49-F238E27FC236}">
                <a16:creationId xmlns:a16="http://schemas.microsoft.com/office/drawing/2014/main" id="{EC60A46F-5995-4E47-AAB6-F55C8DEB6316}"/>
              </a:ext>
            </a:extLst>
          </p:cNvPr>
          <p:cNvSpPr/>
          <p:nvPr/>
        </p:nvSpPr>
        <p:spPr>
          <a:xfrm>
            <a:off x="8051408" y="4237669"/>
            <a:ext cx="250229" cy="271975"/>
          </a:xfrm>
          <a:prstGeom prst="ellipse">
            <a:avLst/>
          </a:prstGeom>
          <a:solidFill>
            <a:srgbClr val="B3F7B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2DBA328A-B724-45CC-8E48-002895C05CF0}"/>
              </a:ext>
            </a:extLst>
          </p:cNvPr>
          <p:cNvSpPr txBox="1"/>
          <p:nvPr/>
        </p:nvSpPr>
        <p:spPr>
          <a:xfrm>
            <a:off x="8051408" y="4195346"/>
            <a:ext cx="47963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rPr>
              <a:t>5</a:t>
            </a:r>
          </a:p>
        </p:txBody>
      </p:sp>
      <p:sp>
        <p:nvSpPr>
          <p:cNvPr id="27" name="Oval 26">
            <a:extLst>
              <a:ext uri="{FF2B5EF4-FFF2-40B4-BE49-F238E27FC236}">
                <a16:creationId xmlns:a16="http://schemas.microsoft.com/office/drawing/2014/main" id="{3A787C65-75F5-4AEE-ADEE-5A2CD3F4AF00}"/>
              </a:ext>
            </a:extLst>
          </p:cNvPr>
          <p:cNvSpPr/>
          <p:nvPr/>
        </p:nvSpPr>
        <p:spPr>
          <a:xfrm>
            <a:off x="8701509" y="4030100"/>
            <a:ext cx="250229" cy="271975"/>
          </a:xfrm>
          <a:prstGeom prst="ellipse">
            <a:avLst/>
          </a:prstGeom>
          <a:solidFill>
            <a:srgbClr val="B3F7B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535B2BDA-7688-4D91-94A0-AEC83EEBE218}"/>
              </a:ext>
            </a:extLst>
          </p:cNvPr>
          <p:cNvSpPr txBox="1"/>
          <p:nvPr/>
        </p:nvSpPr>
        <p:spPr>
          <a:xfrm>
            <a:off x="8705850" y="3996442"/>
            <a:ext cx="47963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rPr>
              <a:t>4</a:t>
            </a:r>
          </a:p>
        </p:txBody>
      </p:sp>
      <p:sp>
        <p:nvSpPr>
          <p:cNvPr id="29" name="Oval 28">
            <a:extLst>
              <a:ext uri="{FF2B5EF4-FFF2-40B4-BE49-F238E27FC236}">
                <a16:creationId xmlns:a16="http://schemas.microsoft.com/office/drawing/2014/main" id="{0F850AE7-CAED-4281-ACDD-951CB20ED712}"/>
              </a:ext>
            </a:extLst>
          </p:cNvPr>
          <p:cNvSpPr/>
          <p:nvPr/>
        </p:nvSpPr>
        <p:spPr>
          <a:xfrm>
            <a:off x="9388046" y="3846376"/>
            <a:ext cx="250229" cy="271975"/>
          </a:xfrm>
          <a:prstGeom prst="ellipse">
            <a:avLst/>
          </a:prstGeom>
          <a:solidFill>
            <a:srgbClr val="B3F7B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2D8986F7-F23A-47D8-9306-17453EF318C8}"/>
              </a:ext>
            </a:extLst>
          </p:cNvPr>
          <p:cNvSpPr txBox="1"/>
          <p:nvPr/>
        </p:nvSpPr>
        <p:spPr>
          <a:xfrm>
            <a:off x="9389997" y="3789384"/>
            <a:ext cx="47963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rPr>
              <a:t>3</a:t>
            </a:r>
          </a:p>
        </p:txBody>
      </p:sp>
      <p:sp>
        <p:nvSpPr>
          <p:cNvPr id="31" name="Oval 30">
            <a:extLst>
              <a:ext uri="{FF2B5EF4-FFF2-40B4-BE49-F238E27FC236}">
                <a16:creationId xmlns:a16="http://schemas.microsoft.com/office/drawing/2014/main" id="{FA6E3C08-DEF9-4B9B-B569-62FD1B5857DE}"/>
              </a:ext>
            </a:extLst>
          </p:cNvPr>
          <p:cNvSpPr/>
          <p:nvPr/>
        </p:nvSpPr>
        <p:spPr>
          <a:xfrm>
            <a:off x="10148414" y="3580585"/>
            <a:ext cx="250229" cy="271975"/>
          </a:xfrm>
          <a:prstGeom prst="ellipse">
            <a:avLst/>
          </a:prstGeom>
          <a:solidFill>
            <a:srgbClr val="B3F7B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5F6A9F6F-8DD3-42C6-9D1B-C3CBD8D6B4E8}"/>
              </a:ext>
            </a:extLst>
          </p:cNvPr>
          <p:cNvSpPr txBox="1"/>
          <p:nvPr/>
        </p:nvSpPr>
        <p:spPr>
          <a:xfrm>
            <a:off x="10137159" y="3544962"/>
            <a:ext cx="47963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rPr>
              <a:t>2</a:t>
            </a:r>
          </a:p>
        </p:txBody>
      </p:sp>
      <p:sp>
        <p:nvSpPr>
          <p:cNvPr id="33" name="Oval 32">
            <a:extLst>
              <a:ext uri="{FF2B5EF4-FFF2-40B4-BE49-F238E27FC236}">
                <a16:creationId xmlns:a16="http://schemas.microsoft.com/office/drawing/2014/main" id="{A0BA9E0A-5DDD-4F94-9CB6-F39947821D03}"/>
              </a:ext>
            </a:extLst>
          </p:cNvPr>
          <p:cNvSpPr/>
          <p:nvPr/>
        </p:nvSpPr>
        <p:spPr>
          <a:xfrm>
            <a:off x="10868025" y="3406337"/>
            <a:ext cx="250229" cy="271975"/>
          </a:xfrm>
          <a:prstGeom prst="ellipse">
            <a:avLst/>
          </a:prstGeom>
          <a:solidFill>
            <a:srgbClr val="B3F7B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498BD6D7-E778-455E-A792-90992CB507BB}"/>
              </a:ext>
            </a:extLst>
          </p:cNvPr>
          <p:cNvSpPr txBox="1"/>
          <p:nvPr/>
        </p:nvSpPr>
        <p:spPr>
          <a:xfrm>
            <a:off x="10847322" y="3357146"/>
            <a:ext cx="47963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rPr>
              <a:t>1</a:t>
            </a:r>
          </a:p>
        </p:txBody>
      </p:sp>
      <p:sp>
        <p:nvSpPr>
          <p:cNvPr id="35" name="Oval 34">
            <a:extLst>
              <a:ext uri="{FF2B5EF4-FFF2-40B4-BE49-F238E27FC236}">
                <a16:creationId xmlns:a16="http://schemas.microsoft.com/office/drawing/2014/main" id="{5FA18F57-5351-492A-91C5-62B4624FCAE0}"/>
              </a:ext>
            </a:extLst>
          </p:cNvPr>
          <p:cNvSpPr/>
          <p:nvPr/>
        </p:nvSpPr>
        <p:spPr>
          <a:xfrm>
            <a:off x="5716874" y="4988298"/>
            <a:ext cx="250229" cy="271975"/>
          </a:xfrm>
          <a:prstGeom prst="ellipse">
            <a:avLst/>
          </a:prstGeom>
          <a:solidFill>
            <a:srgbClr val="B3F7B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E26C25F7-3026-47B3-A834-F38565A94BF2}"/>
              </a:ext>
            </a:extLst>
          </p:cNvPr>
          <p:cNvSpPr txBox="1"/>
          <p:nvPr/>
        </p:nvSpPr>
        <p:spPr>
          <a:xfrm>
            <a:off x="5696663" y="4945019"/>
            <a:ext cx="47963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rPr>
              <a:t>8</a:t>
            </a:r>
          </a:p>
        </p:txBody>
      </p:sp>
      <p:sp>
        <p:nvSpPr>
          <p:cNvPr id="37" name="Oval 36">
            <a:extLst>
              <a:ext uri="{FF2B5EF4-FFF2-40B4-BE49-F238E27FC236}">
                <a16:creationId xmlns:a16="http://schemas.microsoft.com/office/drawing/2014/main" id="{1019C6EA-E74E-4B3E-90EF-66C0D219DE6A}"/>
              </a:ext>
            </a:extLst>
          </p:cNvPr>
          <p:cNvSpPr/>
          <p:nvPr/>
        </p:nvSpPr>
        <p:spPr>
          <a:xfrm>
            <a:off x="6433263" y="4764545"/>
            <a:ext cx="250229" cy="271975"/>
          </a:xfrm>
          <a:prstGeom prst="ellipse">
            <a:avLst/>
          </a:prstGeom>
          <a:solidFill>
            <a:srgbClr val="B3F7B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8" name="TextBox 37">
            <a:extLst>
              <a:ext uri="{FF2B5EF4-FFF2-40B4-BE49-F238E27FC236}">
                <a16:creationId xmlns:a16="http://schemas.microsoft.com/office/drawing/2014/main" id="{E2A17920-3DFB-4BF4-ABD4-8C329DC4B840}"/>
              </a:ext>
            </a:extLst>
          </p:cNvPr>
          <p:cNvSpPr txBox="1"/>
          <p:nvPr/>
        </p:nvSpPr>
        <p:spPr>
          <a:xfrm>
            <a:off x="6420209" y="4729163"/>
            <a:ext cx="47963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rPr>
              <a:t>7</a:t>
            </a:r>
          </a:p>
        </p:txBody>
      </p:sp>
      <p:sp>
        <p:nvSpPr>
          <p:cNvPr id="39" name="Oval 38">
            <a:extLst>
              <a:ext uri="{FF2B5EF4-FFF2-40B4-BE49-F238E27FC236}">
                <a16:creationId xmlns:a16="http://schemas.microsoft.com/office/drawing/2014/main" id="{3563DA03-997A-466F-8F95-D489D1BF31C2}"/>
              </a:ext>
            </a:extLst>
          </p:cNvPr>
          <p:cNvSpPr/>
          <p:nvPr/>
        </p:nvSpPr>
        <p:spPr>
          <a:xfrm>
            <a:off x="7291058" y="4508012"/>
            <a:ext cx="250229" cy="271975"/>
          </a:xfrm>
          <a:prstGeom prst="ellipse">
            <a:avLst/>
          </a:prstGeom>
          <a:solidFill>
            <a:srgbClr val="B3F7B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0" name="TextBox 39">
            <a:extLst>
              <a:ext uri="{FF2B5EF4-FFF2-40B4-BE49-F238E27FC236}">
                <a16:creationId xmlns:a16="http://schemas.microsoft.com/office/drawing/2014/main" id="{8F994677-D5CF-4E15-826D-BF380BDC3C5D}"/>
              </a:ext>
            </a:extLst>
          </p:cNvPr>
          <p:cNvSpPr txBox="1"/>
          <p:nvPr/>
        </p:nvSpPr>
        <p:spPr>
          <a:xfrm>
            <a:off x="7270355" y="4458821"/>
            <a:ext cx="47963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70AD47">
                    <a:lumMod val="75000"/>
                  </a:srgbClr>
                </a:solidFill>
                <a:effectLst/>
                <a:uLnTx/>
                <a:uFillTx/>
                <a:latin typeface="Calibri" panose="020F0502020204030204"/>
                <a:ea typeface="+mn-ea"/>
                <a:cs typeface="+mn-cs"/>
              </a:rPr>
              <a:t>6</a:t>
            </a:r>
          </a:p>
        </p:txBody>
      </p:sp>
      <p:pic>
        <p:nvPicPr>
          <p:cNvPr id="41" name="Picture 40">
            <a:extLst>
              <a:ext uri="{FF2B5EF4-FFF2-40B4-BE49-F238E27FC236}">
                <a16:creationId xmlns:a16="http://schemas.microsoft.com/office/drawing/2014/main" id="{2D2FF9EF-D1AA-4489-BE41-F2E092FA649B}"/>
              </a:ext>
            </a:extLst>
          </p:cNvPr>
          <p:cNvPicPr>
            <a:picLocks noChangeAspect="1"/>
          </p:cNvPicPr>
          <p:nvPr/>
        </p:nvPicPr>
        <p:blipFill>
          <a:blip r:embed="rId5"/>
          <a:stretch>
            <a:fillRect/>
          </a:stretch>
        </p:blipFill>
        <p:spPr>
          <a:xfrm>
            <a:off x="248675" y="3616738"/>
            <a:ext cx="2305050" cy="1038225"/>
          </a:xfrm>
          <a:prstGeom prst="rect">
            <a:avLst/>
          </a:prstGeom>
        </p:spPr>
      </p:pic>
      <p:sp>
        <p:nvSpPr>
          <p:cNvPr id="8" name="Oval 7">
            <a:extLst>
              <a:ext uri="{FF2B5EF4-FFF2-40B4-BE49-F238E27FC236}">
                <a16:creationId xmlns:a16="http://schemas.microsoft.com/office/drawing/2014/main" id="{92184591-09CD-4182-AA9B-397713AF38C9}"/>
              </a:ext>
            </a:extLst>
          </p:cNvPr>
          <p:cNvSpPr/>
          <p:nvPr/>
        </p:nvSpPr>
        <p:spPr>
          <a:xfrm>
            <a:off x="753028" y="4572000"/>
            <a:ext cx="1647825" cy="1586425"/>
          </a:xfrm>
          <a:prstGeom prst="ellipse">
            <a:avLst/>
          </a:prstGeom>
          <a:noFill/>
          <a:ln w="5715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5" name="Picture 44">
            <a:extLst>
              <a:ext uri="{FF2B5EF4-FFF2-40B4-BE49-F238E27FC236}">
                <a16:creationId xmlns:a16="http://schemas.microsoft.com/office/drawing/2014/main" id="{D165459D-7B66-4D23-8743-FF09FCFA1CB0}"/>
              </a:ext>
            </a:extLst>
          </p:cNvPr>
          <p:cNvPicPr>
            <a:picLocks noChangeAspect="1"/>
          </p:cNvPicPr>
          <p:nvPr/>
        </p:nvPicPr>
        <p:blipFill>
          <a:blip r:embed="rId6"/>
          <a:stretch>
            <a:fillRect/>
          </a:stretch>
        </p:blipFill>
        <p:spPr>
          <a:xfrm>
            <a:off x="10137159" y="6113786"/>
            <a:ext cx="1928238" cy="426006"/>
          </a:xfrm>
          <a:prstGeom prst="rect">
            <a:avLst/>
          </a:prstGeom>
        </p:spPr>
      </p:pic>
      <p:sp>
        <p:nvSpPr>
          <p:cNvPr id="46" name="TextBox 45">
            <a:extLst>
              <a:ext uri="{FF2B5EF4-FFF2-40B4-BE49-F238E27FC236}">
                <a16:creationId xmlns:a16="http://schemas.microsoft.com/office/drawing/2014/main" id="{2CAB6FF7-8DEF-4A0A-9631-D59AAFC45BCB}"/>
              </a:ext>
            </a:extLst>
          </p:cNvPr>
          <p:cNvSpPr txBox="1"/>
          <p:nvPr/>
        </p:nvSpPr>
        <p:spPr>
          <a:xfrm>
            <a:off x="10393663" y="6539792"/>
            <a:ext cx="176984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Via Sasha Karakusevic</a:t>
            </a:r>
          </a:p>
        </p:txBody>
      </p:sp>
      <p:sp>
        <p:nvSpPr>
          <p:cNvPr id="47" name="Rectangle 46">
            <a:extLst>
              <a:ext uri="{FF2B5EF4-FFF2-40B4-BE49-F238E27FC236}">
                <a16:creationId xmlns:a16="http://schemas.microsoft.com/office/drawing/2014/main" id="{BF51CEC3-CFB4-4CCE-99A0-F5D0AA128A39}"/>
              </a:ext>
            </a:extLst>
          </p:cNvPr>
          <p:cNvSpPr/>
          <p:nvPr/>
        </p:nvSpPr>
        <p:spPr>
          <a:xfrm>
            <a:off x="9388046" y="76200"/>
            <a:ext cx="2714595" cy="8863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97045B27-64B4-4A83-8727-E55B8F717B84}"/>
              </a:ext>
            </a:extLst>
          </p:cNvPr>
          <p:cNvSpPr txBox="1"/>
          <p:nvPr/>
        </p:nvSpPr>
        <p:spPr>
          <a:xfrm flipH="1">
            <a:off x="10124727" y="5827252"/>
            <a:ext cx="371665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Source: adapted from</a:t>
            </a:r>
          </a:p>
        </p:txBody>
      </p:sp>
      <p:pic>
        <p:nvPicPr>
          <p:cNvPr id="49" name="Picture 48">
            <a:extLst>
              <a:ext uri="{FF2B5EF4-FFF2-40B4-BE49-F238E27FC236}">
                <a16:creationId xmlns:a16="http://schemas.microsoft.com/office/drawing/2014/main" id="{62AE651B-145B-4EA6-8EC0-C5E28191200F}"/>
              </a:ext>
            </a:extLst>
          </p:cNvPr>
          <p:cNvPicPr>
            <a:picLocks noChangeAspect="1"/>
          </p:cNvPicPr>
          <p:nvPr/>
        </p:nvPicPr>
        <p:blipFill>
          <a:blip r:embed="rId7"/>
          <a:stretch>
            <a:fillRect/>
          </a:stretch>
        </p:blipFill>
        <p:spPr>
          <a:xfrm>
            <a:off x="86162" y="823263"/>
            <a:ext cx="6794165" cy="2162317"/>
          </a:xfrm>
          <a:prstGeom prst="rect">
            <a:avLst/>
          </a:prstGeom>
        </p:spPr>
      </p:pic>
      <p:sp>
        <p:nvSpPr>
          <p:cNvPr id="2" name="Title 1">
            <a:extLst>
              <a:ext uri="{FF2B5EF4-FFF2-40B4-BE49-F238E27FC236}">
                <a16:creationId xmlns:a16="http://schemas.microsoft.com/office/drawing/2014/main" id="{577B7135-65FE-A433-9BAA-B846C0E02664}"/>
              </a:ext>
            </a:extLst>
          </p:cNvPr>
          <p:cNvSpPr>
            <a:spLocks noGrp="1"/>
          </p:cNvSpPr>
          <p:nvPr>
            <p:ph type="title"/>
          </p:nvPr>
        </p:nvSpPr>
        <p:spPr>
          <a:xfrm>
            <a:off x="160837" y="320178"/>
            <a:ext cx="11362301" cy="498598"/>
          </a:xfrm>
        </p:spPr>
        <p:txBody>
          <a:bodyPr/>
          <a:lstStyle/>
          <a:p>
            <a:r>
              <a:rPr lang="en-GB" sz="3600" b="1" dirty="0">
                <a:solidFill>
                  <a:schemeClr val="accent1"/>
                </a:solidFill>
              </a:rPr>
              <a:t>The most powerful intervention is to shift the paradigm</a:t>
            </a:r>
          </a:p>
        </p:txBody>
      </p:sp>
      <p:sp>
        <p:nvSpPr>
          <p:cNvPr id="53" name="TextBox 52">
            <a:extLst>
              <a:ext uri="{FF2B5EF4-FFF2-40B4-BE49-F238E27FC236}">
                <a16:creationId xmlns:a16="http://schemas.microsoft.com/office/drawing/2014/main" id="{FA594D78-3AB3-4739-8C6E-FC593D723C14}"/>
              </a:ext>
            </a:extLst>
          </p:cNvPr>
          <p:cNvSpPr txBox="1"/>
          <p:nvPr/>
        </p:nvSpPr>
        <p:spPr>
          <a:xfrm rot="20641091">
            <a:off x="3051406" y="6094141"/>
            <a:ext cx="201795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3A67B8"/>
                </a:solidFill>
                <a:effectLst/>
                <a:uLnTx/>
                <a:uFillTx/>
                <a:latin typeface="Ink Free" panose="03080402000500000000" pitchFamily="66" charset="0"/>
                <a:ea typeface="+mn-ea"/>
                <a:cs typeface="Cavolini" panose="03000502040302020204" pitchFamily="66" charset="0"/>
              </a:rPr>
              <a:t>CHANGE THE PROCESS</a:t>
            </a:r>
          </a:p>
        </p:txBody>
      </p:sp>
      <p:pic>
        <p:nvPicPr>
          <p:cNvPr id="55" name="Picture 54">
            <a:extLst>
              <a:ext uri="{FF2B5EF4-FFF2-40B4-BE49-F238E27FC236}">
                <a16:creationId xmlns:a16="http://schemas.microsoft.com/office/drawing/2014/main" id="{EFF41D9E-78E9-4914-B7DB-C05F545FF71C}"/>
              </a:ext>
            </a:extLst>
          </p:cNvPr>
          <p:cNvPicPr>
            <a:picLocks noChangeAspect="1"/>
          </p:cNvPicPr>
          <p:nvPr/>
        </p:nvPicPr>
        <p:blipFill>
          <a:blip r:embed="rId2"/>
          <a:stretch>
            <a:fillRect/>
          </a:stretch>
        </p:blipFill>
        <p:spPr>
          <a:xfrm rot="20440427">
            <a:off x="5021722" y="5182794"/>
            <a:ext cx="2679681" cy="302025"/>
          </a:xfrm>
          <a:prstGeom prst="rect">
            <a:avLst/>
          </a:prstGeom>
        </p:spPr>
      </p:pic>
      <p:sp>
        <p:nvSpPr>
          <p:cNvPr id="56" name="TextBox 55">
            <a:extLst>
              <a:ext uri="{FF2B5EF4-FFF2-40B4-BE49-F238E27FC236}">
                <a16:creationId xmlns:a16="http://schemas.microsoft.com/office/drawing/2014/main" id="{24ABF3A4-70C0-4D08-B65B-693885557DE7}"/>
              </a:ext>
            </a:extLst>
          </p:cNvPr>
          <p:cNvSpPr txBox="1"/>
          <p:nvPr/>
        </p:nvSpPr>
        <p:spPr>
          <a:xfrm rot="20466110">
            <a:off x="5125576" y="5409290"/>
            <a:ext cx="2801120"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3A67B8"/>
                </a:solidFill>
                <a:effectLst/>
                <a:uLnTx/>
                <a:uFillTx/>
                <a:latin typeface="Ink Free" panose="03080402000500000000" pitchFamily="66" charset="0"/>
                <a:ea typeface="+mn-ea"/>
                <a:cs typeface="Cavolini" panose="03000502040302020204" pitchFamily="66" charset="0"/>
              </a:rPr>
              <a:t>CHANGE PATTERNS/FLOWS OF INFORMATION &amp; BEHAVIOUR</a:t>
            </a:r>
          </a:p>
        </p:txBody>
      </p:sp>
      <p:pic>
        <p:nvPicPr>
          <p:cNvPr id="57" name="Picture 56">
            <a:extLst>
              <a:ext uri="{FF2B5EF4-FFF2-40B4-BE49-F238E27FC236}">
                <a16:creationId xmlns:a16="http://schemas.microsoft.com/office/drawing/2014/main" id="{5875B2FC-2E8B-4A45-A60E-12887FEC7BA3}"/>
              </a:ext>
            </a:extLst>
          </p:cNvPr>
          <p:cNvPicPr>
            <a:picLocks noChangeAspect="1"/>
          </p:cNvPicPr>
          <p:nvPr/>
        </p:nvPicPr>
        <p:blipFill>
          <a:blip r:embed="rId2"/>
          <a:stretch>
            <a:fillRect/>
          </a:stretch>
        </p:blipFill>
        <p:spPr>
          <a:xfrm rot="20613968">
            <a:off x="7922464" y="4355051"/>
            <a:ext cx="1930472" cy="302025"/>
          </a:xfrm>
          <a:prstGeom prst="rect">
            <a:avLst/>
          </a:prstGeom>
        </p:spPr>
      </p:pic>
      <p:sp>
        <p:nvSpPr>
          <p:cNvPr id="58" name="TextBox 57">
            <a:extLst>
              <a:ext uri="{FF2B5EF4-FFF2-40B4-BE49-F238E27FC236}">
                <a16:creationId xmlns:a16="http://schemas.microsoft.com/office/drawing/2014/main" id="{D3DA14A3-8497-4107-B115-AC7FF55914F0}"/>
              </a:ext>
            </a:extLst>
          </p:cNvPr>
          <p:cNvSpPr txBox="1"/>
          <p:nvPr/>
        </p:nvSpPr>
        <p:spPr>
          <a:xfrm rot="20641091">
            <a:off x="8034788" y="4545450"/>
            <a:ext cx="201795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3A67B8"/>
                </a:solidFill>
                <a:effectLst/>
                <a:uLnTx/>
                <a:uFillTx/>
                <a:latin typeface="Ink Free" panose="03080402000500000000" pitchFamily="66" charset="0"/>
                <a:ea typeface="+mn-ea"/>
                <a:cs typeface="Cavolini" panose="03000502040302020204" pitchFamily="66" charset="0"/>
              </a:rPr>
              <a:t>CHANGE THE SOCIAL SYSTEM</a:t>
            </a:r>
          </a:p>
        </p:txBody>
      </p:sp>
      <p:pic>
        <p:nvPicPr>
          <p:cNvPr id="59" name="Picture 58">
            <a:extLst>
              <a:ext uri="{FF2B5EF4-FFF2-40B4-BE49-F238E27FC236}">
                <a16:creationId xmlns:a16="http://schemas.microsoft.com/office/drawing/2014/main" id="{B649016B-E41A-4AA8-9C1F-990F9CA6902E}"/>
              </a:ext>
            </a:extLst>
          </p:cNvPr>
          <p:cNvPicPr>
            <a:picLocks noChangeAspect="1"/>
          </p:cNvPicPr>
          <p:nvPr/>
        </p:nvPicPr>
        <p:blipFill>
          <a:blip r:embed="rId2"/>
          <a:stretch>
            <a:fillRect/>
          </a:stretch>
        </p:blipFill>
        <p:spPr>
          <a:xfrm rot="20613968">
            <a:off x="9894509" y="3751679"/>
            <a:ext cx="1930472" cy="302025"/>
          </a:xfrm>
          <a:prstGeom prst="rect">
            <a:avLst/>
          </a:prstGeom>
        </p:spPr>
      </p:pic>
      <p:sp>
        <p:nvSpPr>
          <p:cNvPr id="60" name="TextBox 59">
            <a:extLst>
              <a:ext uri="{FF2B5EF4-FFF2-40B4-BE49-F238E27FC236}">
                <a16:creationId xmlns:a16="http://schemas.microsoft.com/office/drawing/2014/main" id="{6204B758-5192-4D7B-A680-EAE574545BD7}"/>
              </a:ext>
            </a:extLst>
          </p:cNvPr>
          <p:cNvSpPr txBox="1"/>
          <p:nvPr/>
        </p:nvSpPr>
        <p:spPr>
          <a:xfrm rot="20641091">
            <a:off x="10005736" y="3968579"/>
            <a:ext cx="201795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3A67B8"/>
                </a:solidFill>
                <a:effectLst/>
                <a:uLnTx/>
                <a:uFillTx/>
                <a:latin typeface="Ink Free" panose="03080402000500000000" pitchFamily="66" charset="0"/>
                <a:ea typeface="+mn-ea"/>
                <a:cs typeface="Cavolini" panose="03000502040302020204" pitchFamily="66" charset="0"/>
              </a:rPr>
              <a:t>CHANGE THE PARADIGM OR MENTAL MODEL</a:t>
            </a:r>
          </a:p>
        </p:txBody>
      </p:sp>
      <p:sp>
        <p:nvSpPr>
          <p:cNvPr id="62" name="TextBox 61">
            <a:extLst>
              <a:ext uri="{FF2B5EF4-FFF2-40B4-BE49-F238E27FC236}">
                <a16:creationId xmlns:a16="http://schemas.microsoft.com/office/drawing/2014/main" id="{98D126DA-8F94-4A5B-A769-5C3370B7BCE2}"/>
              </a:ext>
            </a:extLst>
          </p:cNvPr>
          <p:cNvSpPr txBox="1"/>
          <p:nvPr/>
        </p:nvSpPr>
        <p:spPr>
          <a:xfrm rot="21440880">
            <a:off x="1071605" y="2724507"/>
            <a:ext cx="433894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3A67B8"/>
                </a:solidFill>
                <a:effectLst/>
                <a:uLnTx/>
                <a:uFillTx/>
                <a:latin typeface="Ink Free" panose="03080402000500000000" pitchFamily="66" charset="0"/>
                <a:ea typeface="+mn-ea"/>
                <a:cs typeface="Cavolini" panose="03000502040302020204" pitchFamily="66" charset="0"/>
              </a:rPr>
              <a:t>Places to intervene in a system</a:t>
            </a:r>
          </a:p>
        </p:txBody>
      </p:sp>
      <p:sp>
        <p:nvSpPr>
          <p:cNvPr id="63" name="TextBox 62">
            <a:extLst>
              <a:ext uri="{FF2B5EF4-FFF2-40B4-BE49-F238E27FC236}">
                <a16:creationId xmlns:a16="http://schemas.microsoft.com/office/drawing/2014/main" id="{728F422E-3BBB-4621-8F3D-38BCD62B18E8}"/>
              </a:ext>
            </a:extLst>
          </p:cNvPr>
          <p:cNvSpPr txBox="1"/>
          <p:nvPr/>
        </p:nvSpPr>
        <p:spPr>
          <a:xfrm rot="20552183">
            <a:off x="6628236" y="5674739"/>
            <a:ext cx="433894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3A67B8"/>
                </a:solidFill>
                <a:effectLst/>
                <a:uLnTx/>
                <a:uFillTx/>
                <a:latin typeface="Ink Free" panose="03080402000500000000" pitchFamily="66" charset="0"/>
                <a:ea typeface="+mn-ea"/>
                <a:cs typeface="Cavolini" panose="03000502040302020204" pitchFamily="66" charset="0"/>
              </a:rPr>
              <a:t>Levers in ascending order of effectiveness</a:t>
            </a:r>
          </a:p>
        </p:txBody>
      </p:sp>
    </p:spTree>
    <p:extLst>
      <p:ext uri="{BB962C8B-B14F-4D97-AF65-F5344CB8AC3E}">
        <p14:creationId xmlns:p14="http://schemas.microsoft.com/office/powerpoint/2010/main" val="1622989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0D4FCB-B5CF-4C23-AC70-7FD1D41E220A}"/>
              </a:ext>
            </a:extLst>
          </p:cNvPr>
          <p:cNvSpPr>
            <a:spLocks noGrp="1"/>
          </p:cNvSpPr>
          <p:nvPr>
            <p:ph type="title"/>
          </p:nvPr>
        </p:nvSpPr>
        <p:spPr>
          <a:xfrm>
            <a:off x="556219" y="-152464"/>
            <a:ext cx="10515600" cy="1325563"/>
          </a:xfrm>
        </p:spPr>
        <p:txBody>
          <a:bodyPr>
            <a:normAutofit/>
          </a:bodyPr>
          <a:lstStyle/>
          <a:p>
            <a:r>
              <a:rPr lang="en-GB" sz="5400" dirty="0"/>
              <a:t>A Dutch proverb</a:t>
            </a:r>
          </a:p>
        </p:txBody>
      </p:sp>
      <p:sp>
        <p:nvSpPr>
          <p:cNvPr id="5" name="TextBox 4">
            <a:extLst>
              <a:ext uri="{FF2B5EF4-FFF2-40B4-BE49-F238E27FC236}">
                <a16:creationId xmlns:a16="http://schemas.microsoft.com/office/drawing/2014/main" id="{462931F2-993F-477B-9571-182A9F6429D9}"/>
              </a:ext>
            </a:extLst>
          </p:cNvPr>
          <p:cNvSpPr txBox="1"/>
          <p:nvPr/>
        </p:nvSpPr>
        <p:spPr>
          <a:xfrm>
            <a:off x="7191375" y="5787657"/>
            <a:ext cx="6153150" cy="369332"/>
          </a:xfrm>
          <a:prstGeom prst="rect">
            <a:avLst/>
          </a:prstGeom>
          <a:noFill/>
        </p:spPr>
        <p:txBody>
          <a:bodyPr wrap="square">
            <a:spAutoFit/>
          </a:bodyPr>
          <a:lstStyle/>
          <a:p>
            <a:r>
              <a:rPr lang="en-GB" dirty="0">
                <a:hlinkClick r:id="rId2"/>
              </a:rPr>
              <a:t>simonterry.com/2017/07/31/trust-is-precious/</a:t>
            </a:r>
            <a:r>
              <a:rPr lang="en-GB" dirty="0"/>
              <a:t> </a:t>
            </a:r>
          </a:p>
        </p:txBody>
      </p:sp>
      <p:pic>
        <p:nvPicPr>
          <p:cNvPr id="10" name="Picture 9">
            <a:extLst>
              <a:ext uri="{FF2B5EF4-FFF2-40B4-BE49-F238E27FC236}">
                <a16:creationId xmlns:a16="http://schemas.microsoft.com/office/drawing/2014/main" id="{9F14E545-BA7B-43A1-BEBD-F99541181515}"/>
              </a:ext>
            </a:extLst>
          </p:cNvPr>
          <p:cNvPicPr>
            <a:picLocks noChangeAspect="1"/>
          </p:cNvPicPr>
          <p:nvPr/>
        </p:nvPicPr>
        <p:blipFill>
          <a:blip r:embed="rId3"/>
          <a:stretch>
            <a:fillRect/>
          </a:stretch>
        </p:blipFill>
        <p:spPr>
          <a:xfrm>
            <a:off x="347663" y="2078688"/>
            <a:ext cx="5400675" cy="4994073"/>
          </a:xfrm>
          <a:prstGeom prst="rect">
            <a:avLst/>
          </a:prstGeom>
        </p:spPr>
      </p:pic>
      <p:pic>
        <p:nvPicPr>
          <p:cNvPr id="12" name="Picture 11">
            <a:extLst>
              <a:ext uri="{FF2B5EF4-FFF2-40B4-BE49-F238E27FC236}">
                <a16:creationId xmlns:a16="http://schemas.microsoft.com/office/drawing/2014/main" id="{912FF76A-D899-4DD6-9F13-0042EF7FAAB5}"/>
              </a:ext>
            </a:extLst>
          </p:cNvPr>
          <p:cNvPicPr>
            <a:picLocks noChangeAspect="1"/>
          </p:cNvPicPr>
          <p:nvPr/>
        </p:nvPicPr>
        <p:blipFill>
          <a:blip r:embed="rId4"/>
          <a:stretch>
            <a:fillRect/>
          </a:stretch>
        </p:blipFill>
        <p:spPr>
          <a:xfrm>
            <a:off x="6096000" y="358259"/>
            <a:ext cx="5924550" cy="2857500"/>
          </a:xfrm>
          <a:prstGeom prst="rect">
            <a:avLst/>
          </a:prstGeom>
        </p:spPr>
      </p:pic>
      <p:sp>
        <p:nvSpPr>
          <p:cNvPr id="7" name="TextBox 6">
            <a:extLst>
              <a:ext uri="{FF2B5EF4-FFF2-40B4-BE49-F238E27FC236}">
                <a16:creationId xmlns:a16="http://schemas.microsoft.com/office/drawing/2014/main" id="{5BE313DE-1E90-4CEC-BED5-E11FCB876704}"/>
              </a:ext>
            </a:extLst>
          </p:cNvPr>
          <p:cNvSpPr txBox="1"/>
          <p:nvPr/>
        </p:nvSpPr>
        <p:spPr>
          <a:xfrm>
            <a:off x="638175" y="1263539"/>
            <a:ext cx="7019926" cy="707886"/>
          </a:xfrm>
          <a:prstGeom prst="rect">
            <a:avLst/>
          </a:prstGeom>
          <a:noFill/>
        </p:spPr>
        <p:txBody>
          <a:bodyPr wrap="square">
            <a:spAutoFit/>
          </a:bodyPr>
          <a:lstStyle/>
          <a:p>
            <a:r>
              <a:rPr lang="en-GB" sz="4000" b="1" i="0" dirty="0">
                <a:solidFill>
                  <a:srgbClr val="333333"/>
                </a:solidFill>
                <a:effectLst/>
                <a:latin typeface="Arimo"/>
              </a:rPr>
              <a:t>Trust arrives on a tortoise….. </a:t>
            </a:r>
          </a:p>
        </p:txBody>
      </p:sp>
      <p:sp>
        <p:nvSpPr>
          <p:cNvPr id="8" name="TextBox 7">
            <a:extLst>
              <a:ext uri="{FF2B5EF4-FFF2-40B4-BE49-F238E27FC236}">
                <a16:creationId xmlns:a16="http://schemas.microsoft.com/office/drawing/2014/main" id="{E0D95C9D-FB37-4327-B47F-614ACBCE25FE}"/>
              </a:ext>
            </a:extLst>
          </p:cNvPr>
          <p:cNvSpPr txBox="1"/>
          <p:nvPr/>
        </p:nvSpPr>
        <p:spPr>
          <a:xfrm>
            <a:off x="4976813" y="4252560"/>
            <a:ext cx="5834062" cy="707886"/>
          </a:xfrm>
          <a:prstGeom prst="rect">
            <a:avLst/>
          </a:prstGeom>
          <a:noFill/>
        </p:spPr>
        <p:txBody>
          <a:bodyPr wrap="square">
            <a:spAutoFit/>
          </a:bodyPr>
          <a:lstStyle/>
          <a:p>
            <a:r>
              <a:rPr lang="en-GB" sz="4000" b="1" i="0" dirty="0">
                <a:solidFill>
                  <a:srgbClr val="333333"/>
                </a:solidFill>
                <a:effectLst/>
                <a:latin typeface="Arimo"/>
              </a:rPr>
              <a:t>…..and leaves on a horse</a:t>
            </a:r>
            <a:endParaRPr lang="en-GB" sz="4000" dirty="0"/>
          </a:p>
        </p:txBody>
      </p:sp>
    </p:spTree>
    <p:extLst>
      <p:ext uri="{BB962C8B-B14F-4D97-AF65-F5344CB8AC3E}">
        <p14:creationId xmlns:p14="http://schemas.microsoft.com/office/powerpoint/2010/main" val="32105439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58D5D3-2D5F-46A7-8396-04FD8189E0FA}"/>
              </a:ext>
            </a:extLst>
          </p:cNvPr>
          <p:cNvSpPr>
            <a:spLocks noGrp="1"/>
          </p:cNvSpPr>
          <p:nvPr>
            <p:ph type="title"/>
          </p:nvPr>
        </p:nvSpPr>
        <p:spPr>
          <a:xfrm>
            <a:off x="218440" y="0"/>
            <a:ext cx="10515600" cy="1325563"/>
          </a:xfrm>
        </p:spPr>
        <p:txBody>
          <a:bodyPr/>
          <a:lstStyle/>
          <a:p>
            <a:r>
              <a:rPr lang="en-GB" b="1" dirty="0">
                <a:solidFill>
                  <a:schemeClr val="accent1"/>
                </a:solidFill>
                <a:latin typeface="+mn-lt"/>
              </a:rPr>
              <a:t>Working with Liberating Structures</a:t>
            </a:r>
          </a:p>
        </p:txBody>
      </p:sp>
      <p:pic>
        <p:nvPicPr>
          <p:cNvPr id="1026" name="Picture 2" descr="Liberating Structures – what's that? – Learning moments">
            <a:extLst>
              <a:ext uri="{FF2B5EF4-FFF2-40B4-BE49-F238E27FC236}">
                <a16:creationId xmlns:a16="http://schemas.microsoft.com/office/drawing/2014/main" id="{6B6B7E26-EBD3-49F7-9591-953727F163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0237" y="1223329"/>
            <a:ext cx="4886325" cy="364595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88389B31-AA27-4D3D-9DD2-0810F111E7A3}"/>
              </a:ext>
            </a:extLst>
          </p:cNvPr>
          <p:cNvSpPr txBox="1"/>
          <p:nvPr/>
        </p:nvSpPr>
        <p:spPr>
          <a:xfrm>
            <a:off x="218440" y="5042121"/>
            <a:ext cx="5039360" cy="1384995"/>
          </a:xfrm>
          <a:prstGeom prst="rect">
            <a:avLst/>
          </a:prstGeom>
          <a:noFill/>
        </p:spPr>
        <p:txBody>
          <a:bodyPr wrap="square">
            <a:spAutoFit/>
          </a:bodyPr>
          <a:lstStyle/>
          <a:p>
            <a:pPr algn="ctr"/>
            <a:r>
              <a:rPr lang="en-GB" sz="2800" dirty="0">
                <a:hlinkClick r:id="rId3"/>
              </a:rPr>
              <a:t>www.liberatingstructures.com/</a:t>
            </a:r>
            <a:r>
              <a:rPr lang="en-GB" sz="2800" dirty="0"/>
              <a:t>  or download the Liberating Structures app</a:t>
            </a:r>
          </a:p>
        </p:txBody>
      </p:sp>
      <p:pic>
        <p:nvPicPr>
          <p:cNvPr id="1032" name="Picture 8">
            <a:extLst>
              <a:ext uri="{FF2B5EF4-FFF2-40B4-BE49-F238E27FC236}">
                <a16:creationId xmlns:a16="http://schemas.microsoft.com/office/drawing/2014/main" id="{B87C6446-45D9-43AF-886E-68D130631A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75325" y="1223329"/>
            <a:ext cx="6045200" cy="5181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09931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3AB850-D7F5-44BE-8454-DE923295DC59}"/>
              </a:ext>
            </a:extLst>
          </p:cNvPr>
          <p:cNvSpPr>
            <a:spLocks noGrp="1"/>
          </p:cNvSpPr>
          <p:nvPr>
            <p:ph type="title"/>
          </p:nvPr>
        </p:nvSpPr>
        <p:spPr>
          <a:xfrm>
            <a:off x="216424" y="517985"/>
            <a:ext cx="12096078" cy="1325563"/>
          </a:xfrm>
        </p:spPr>
        <p:txBody>
          <a:bodyPr>
            <a:noAutofit/>
          </a:bodyPr>
          <a:lstStyle/>
          <a:p>
            <a:r>
              <a:rPr lang="en-GB" sz="3600" b="1" dirty="0">
                <a:solidFill>
                  <a:schemeClr val="accent1"/>
                </a:solidFill>
                <a:latin typeface="+mn-lt"/>
              </a:rPr>
              <a:t>1-2-4-all: What opportunities do you see for building community and engagement for large scale change in your own context?</a:t>
            </a:r>
            <a:br>
              <a:rPr lang="en-GB" sz="3600" b="1" dirty="0">
                <a:latin typeface="+mn-lt"/>
              </a:rPr>
            </a:br>
            <a:endParaRPr lang="en-GB" sz="3600" b="1" dirty="0">
              <a:latin typeface="+mn-lt"/>
            </a:endParaRPr>
          </a:p>
        </p:txBody>
      </p:sp>
      <p:sp>
        <p:nvSpPr>
          <p:cNvPr id="7" name="Content Placeholder 6">
            <a:extLst>
              <a:ext uri="{FF2B5EF4-FFF2-40B4-BE49-F238E27FC236}">
                <a16:creationId xmlns:a16="http://schemas.microsoft.com/office/drawing/2014/main" id="{FC4444FA-3CF8-4C85-A188-59EA1E029411}"/>
              </a:ext>
            </a:extLst>
          </p:cNvPr>
          <p:cNvSpPr>
            <a:spLocks noGrp="1"/>
          </p:cNvSpPr>
          <p:nvPr>
            <p:ph idx="1"/>
          </p:nvPr>
        </p:nvSpPr>
        <p:spPr>
          <a:xfrm>
            <a:off x="216424" y="1753393"/>
            <a:ext cx="11608922" cy="5104607"/>
          </a:xfrm>
        </p:spPr>
        <p:txBody>
          <a:bodyPr>
            <a:normAutofit/>
          </a:bodyPr>
          <a:lstStyle/>
          <a:p>
            <a:r>
              <a:rPr lang="en-GB" dirty="0"/>
              <a:t>Start with 1 minute of silent self-reflection on your own;</a:t>
            </a:r>
          </a:p>
          <a:p>
            <a:r>
              <a:rPr lang="en-GB" dirty="0"/>
              <a:t>Take 2 minutes to generate ideas in pairs, building on ideas from self-reflection;</a:t>
            </a:r>
          </a:p>
          <a:p>
            <a:r>
              <a:rPr lang="en-GB" dirty="0"/>
              <a:t>Create groups of four and use 4 minutes to share and develop ideas that you’ve discussed within your pair. Notice similarities and differences.</a:t>
            </a:r>
          </a:p>
          <a:p>
            <a:r>
              <a:rPr lang="en-GB" dirty="0"/>
              <a:t>Take 5 minutes as a table to share insights, ideas and takeaways by asking “What is one idea that stood out in our conversation?”. </a:t>
            </a:r>
          </a:p>
          <a:p>
            <a:r>
              <a:rPr lang="en-GB" dirty="0"/>
              <a:t>Each table will share one important idea via Menti</a:t>
            </a:r>
          </a:p>
          <a:p>
            <a:endParaRPr lang="en-GB" dirty="0"/>
          </a:p>
        </p:txBody>
      </p:sp>
    </p:spTree>
    <p:extLst>
      <p:ext uri="{BB962C8B-B14F-4D97-AF65-F5344CB8AC3E}">
        <p14:creationId xmlns:p14="http://schemas.microsoft.com/office/powerpoint/2010/main" val="223914704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descr="Text, letter, whiteboard&#10;&#10;Description automatically generated">
            <a:extLst>
              <a:ext uri="{FF2B5EF4-FFF2-40B4-BE49-F238E27FC236}">
                <a16:creationId xmlns:a16="http://schemas.microsoft.com/office/drawing/2014/main" id="{65E04183-0F77-45EB-AF35-D2A2BE47D632}"/>
              </a:ext>
            </a:extLst>
          </p:cNvPr>
          <p:cNvPicPr>
            <a:picLocks noChangeAspect="1"/>
          </p:cNvPicPr>
          <p:nvPr/>
        </p:nvPicPr>
        <p:blipFill rotWithShape="1">
          <a:blip r:embed="rId2"/>
          <a:srcRect b="5063"/>
          <a:stretch/>
        </p:blipFill>
        <p:spPr>
          <a:xfrm>
            <a:off x="20" y="10"/>
            <a:ext cx="12191980" cy="6857990"/>
          </a:xfrm>
          <a:prstGeom prst="rect">
            <a:avLst/>
          </a:prstGeom>
        </p:spPr>
      </p:pic>
      <p:sp>
        <p:nvSpPr>
          <p:cNvPr id="10" name="Rectangle 9">
            <a:extLst>
              <a:ext uri="{FF2B5EF4-FFF2-40B4-BE49-F238E27FC236}">
                <a16:creationId xmlns:a16="http://schemas.microsoft.com/office/drawing/2014/main" id="{3B432D73-5C38-474F-AF96-A3228731BF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0">
                <a:schemeClr val="tx1">
                  <a:lumMod val="95000"/>
                  <a:lumOff val="5000"/>
                </a:schemeClr>
              </a:gs>
              <a:gs pos="45000">
                <a:schemeClr val="tx1">
                  <a:lumMod val="95000"/>
                  <a:lumOff val="5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4104838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85040E-6BC8-43ED-8ADA-2ACABEB2BAC2}"/>
              </a:ext>
            </a:extLst>
          </p:cNvPr>
          <p:cNvSpPr>
            <a:spLocks noGrp="1"/>
          </p:cNvSpPr>
          <p:nvPr>
            <p:ph type="title"/>
          </p:nvPr>
        </p:nvSpPr>
        <p:spPr/>
        <p:txBody>
          <a:bodyPr/>
          <a:lstStyle/>
          <a:p>
            <a:r>
              <a:rPr lang="en-GB" b="1" dirty="0">
                <a:solidFill>
                  <a:srgbClr val="0070C0"/>
                </a:solidFill>
                <a:latin typeface="+mn-lt"/>
              </a:rPr>
              <a:t>An after lunch challenge: the one word method </a:t>
            </a:r>
          </a:p>
        </p:txBody>
      </p:sp>
      <p:sp>
        <p:nvSpPr>
          <p:cNvPr id="3" name="Content Placeholder 2">
            <a:extLst>
              <a:ext uri="{FF2B5EF4-FFF2-40B4-BE49-F238E27FC236}">
                <a16:creationId xmlns:a16="http://schemas.microsoft.com/office/drawing/2014/main" id="{3ED53F0A-1661-4FDA-B078-DC379DFD9AA9}"/>
              </a:ext>
            </a:extLst>
          </p:cNvPr>
          <p:cNvSpPr>
            <a:spLocks noGrp="1"/>
          </p:cNvSpPr>
          <p:nvPr>
            <p:ph idx="1"/>
          </p:nvPr>
        </p:nvSpPr>
        <p:spPr>
          <a:xfrm>
            <a:off x="531628" y="1825625"/>
            <a:ext cx="10822172" cy="4351338"/>
          </a:xfrm>
        </p:spPr>
        <p:txBody>
          <a:bodyPr/>
          <a:lstStyle/>
          <a:p>
            <a:r>
              <a:rPr lang="en-GB" dirty="0"/>
              <a:t>Our theme is </a:t>
            </a:r>
            <a:r>
              <a:rPr lang="en-GB" i="1" dirty="0"/>
              <a:t>"how to engage people who are sceptical about improvement".</a:t>
            </a:r>
          </a:p>
          <a:p>
            <a:r>
              <a:rPr lang="en-GB" dirty="0"/>
              <a:t>Our aim is to create a coherent sentence related to the topic as a table group</a:t>
            </a:r>
          </a:p>
          <a:p>
            <a:r>
              <a:rPr lang="en-GB" b="1" dirty="0">
                <a:solidFill>
                  <a:srgbClr val="0070C0"/>
                </a:solidFill>
              </a:rPr>
              <a:t>The method</a:t>
            </a:r>
          </a:p>
          <a:p>
            <a:pPr lvl="1"/>
            <a:r>
              <a:rPr lang="en-GB" sz="2800" b="0" i="0" dirty="0">
                <a:solidFill>
                  <a:srgbClr val="212529"/>
                </a:solidFill>
                <a:effectLst/>
              </a:rPr>
              <a:t>The first person in the group says one word to the topic</a:t>
            </a:r>
          </a:p>
          <a:p>
            <a:pPr lvl="1"/>
            <a:r>
              <a:rPr lang="en-GB" sz="2800" b="0" i="0" dirty="0">
                <a:solidFill>
                  <a:srgbClr val="212529"/>
                </a:solidFill>
                <a:effectLst/>
              </a:rPr>
              <a:t>The next person continues with another word</a:t>
            </a:r>
            <a:endParaRPr lang="en-GB" sz="2800" dirty="0">
              <a:solidFill>
                <a:srgbClr val="212529"/>
              </a:solidFill>
            </a:endParaRPr>
          </a:p>
          <a:p>
            <a:pPr lvl="1"/>
            <a:r>
              <a:rPr lang="en-GB" sz="2800" b="0" i="0" dirty="0">
                <a:solidFill>
                  <a:srgbClr val="212529"/>
                </a:solidFill>
                <a:effectLst/>
              </a:rPr>
              <a:t>Eventually the group creates a whole sentence</a:t>
            </a:r>
          </a:p>
          <a:p>
            <a:endParaRPr lang="en-GB" dirty="0"/>
          </a:p>
          <a:p>
            <a:endParaRPr lang="en-GB" dirty="0"/>
          </a:p>
        </p:txBody>
      </p:sp>
    </p:spTree>
    <p:extLst>
      <p:ext uri="{BB962C8B-B14F-4D97-AF65-F5344CB8AC3E}">
        <p14:creationId xmlns:p14="http://schemas.microsoft.com/office/powerpoint/2010/main" val="4565304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FA22E05-3304-45D6-B1EE-9DAB6AAF3C15}"/>
              </a:ext>
            </a:extLst>
          </p:cNvPr>
          <p:cNvSpPr txBox="1"/>
          <p:nvPr/>
        </p:nvSpPr>
        <p:spPr>
          <a:xfrm>
            <a:off x="2476500" y="1871721"/>
            <a:ext cx="7105650" cy="31700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chemeClr val="accent1"/>
                </a:solidFill>
                <a:effectLst/>
                <a:uLnTx/>
                <a:uFillTx/>
                <a:latin typeface="Cavolini" panose="03000502040302020204" pitchFamily="66" charset="0"/>
                <a:ea typeface="+mn-ea"/>
                <a:cs typeface="Cavolini" panose="03000502040302020204" pitchFamily="66" charset="0"/>
              </a:rPr>
              <a:t>Paradigm: </a:t>
            </a:r>
            <a:r>
              <a:rPr kumimoji="0" lang="en-GB" sz="3200" b="0" i="0" u="none" strike="noStrike" kern="1200" cap="none" spc="0" normalizeH="0" baseline="0" noProof="0" dirty="0">
                <a:ln>
                  <a:noFill/>
                </a:ln>
                <a:solidFill>
                  <a:srgbClr val="A5A5A5">
                    <a:lumMod val="50000"/>
                  </a:srgbClr>
                </a:solidFill>
                <a:effectLst/>
                <a:uLnTx/>
                <a:uFillTx/>
                <a:latin typeface="Cavolini" panose="03000502040302020204" pitchFamily="66" charset="0"/>
                <a:ea typeface="+mn-ea"/>
                <a:cs typeface="Cavolini" panose="03000502040302020204" pitchFamily="66" charset="0"/>
              </a:rPr>
              <a:t>A set of assumptions, concepts, values, and practices that constitutes a way of viewing reality (a worldview) for the community that shares them</a:t>
            </a:r>
          </a:p>
        </p:txBody>
      </p:sp>
      <mc:AlternateContent xmlns:mc="http://schemas.openxmlformats.org/markup-compatibility/2006" xmlns:p14="http://schemas.microsoft.com/office/powerpoint/2010/main">
        <mc:Choice Requires="p14">
          <p:contentPart p14:bwMode="auto" r:id="rId2">
            <p14:nvContentPartPr>
              <p14:cNvPr id="5" name="Ink 4">
                <a:extLst>
                  <a:ext uri="{FF2B5EF4-FFF2-40B4-BE49-F238E27FC236}">
                    <a16:creationId xmlns:a16="http://schemas.microsoft.com/office/drawing/2014/main" id="{933678E3-2E12-410E-9C7B-EF0947C1C031}"/>
                  </a:ext>
                </a:extLst>
              </p14:cNvPr>
              <p14:cNvContentPartPr/>
              <p14:nvPr/>
            </p14:nvContentPartPr>
            <p14:xfrm>
              <a:off x="2031472" y="1028700"/>
              <a:ext cx="7950727" cy="5156200"/>
            </p14:xfrm>
          </p:contentPart>
        </mc:Choice>
        <mc:Fallback xmlns="">
          <p:pic>
            <p:nvPicPr>
              <p:cNvPr id="5" name="Ink 4">
                <a:extLst>
                  <a:ext uri="{FF2B5EF4-FFF2-40B4-BE49-F238E27FC236}">
                    <a16:creationId xmlns:a16="http://schemas.microsoft.com/office/drawing/2014/main" id="{933678E3-2E12-410E-9C7B-EF0947C1C031}"/>
                  </a:ext>
                </a:extLst>
              </p:cNvPr>
              <p:cNvPicPr/>
              <p:nvPr/>
            </p:nvPicPr>
            <p:blipFill>
              <a:blip r:embed="rId3"/>
              <a:stretch>
                <a:fillRect/>
              </a:stretch>
            </p:blipFill>
            <p:spPr>
              <a:xfrm>
                <a:off x="2013473" y="992693"/>
                <a:ext cx="7986366" cy="5227854"/>
              </a:xfrm>
              <a:prstGeom prst="rect">
                <a:avLst/>
              </a:prstGeom>
            </p:spPr>
          </p:pic>
        </mc:Fallback>
      </mc:AlternateContent>
    </p:spTree>
    <p:extLst>
      <p:ext uri="{BB962C8B-B14F-4D97-AF65-F5344CB8AC3E}">
        <p14:creationId xmlns:p14="http://schemas.microsoft.com/office/powerpoint/2010/main" val="33319663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AB990-380B-49B4-944E-0E9927E9D990}"/>
              </a:ext>
            </a:extLst>
          </p:cNvPr>
          <p:cNvSpPr>
            <a:spLocks noGrp="1"/>
          </p:cNvSpPr>
          <p:nvPr>
            <p:ph type="title"/>
          </p:nvPr>
        </p:nvSpPr>
        <p:spPr>
          <a:xfrm>
            <a:off x="252659" y="262382"/>
            <a:ext cx="11765280" cy="648000"/>
          </a:xfrm>
        </p:spPr>
        <p:txBody>
          <a:bodyPr>
            <a:normAutofit fontScale="90000"/>
          </a:bodyPr>
          <a:lstStyle/>
          <a:p>
            <a:r>
              <a:rPr lang="en-GB" b="1" dirty="0">
                <a:solidFill>
                  <a:schemeClr val="accent1"/>
                </a:solidFill>
                <a:latin typeface="+mn-lt"/>
              </a:rPr>
              <a:t>Quality 3.0 in health and care improvement</a:t>
            </a:r>
          </a:p>
        </p:txBody>
      </p:sp>
      <p:sp>
        <p:nvSpPr>
          <p:cNvPr id="6" name="TextBox 5">
            <a:extLst>
              <a:ext uri="{FF2B5EF4-FFF2-40B4-BE49-F238E27FC236}">
                <a16:creationId xmlns:a16="http://schemas.microsoft.com/office/drawing/2014/main" id="{0A975FE3-A14C-4614-AD36-1FD60A697BBF}"/>
              </a:ext>
            </a:extLst>
          </p:cNvPr>
          <p:cNvSpPr txBox="1"/>
          <p:nvPr/>
        </p:nvSpPr>
        <p:spPr>
          <a:xfrm>
            <a:off x="499110" y="6170114"/>
            <a:ext cx="1160145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prstClr val="black"/>
                </a:solidFill>
                <a:effectLst/>
                <a:uLnTx/>
                <a:uFillTx/>
                <a:latin typeface="Calibri" panose="020F0502020204030204"/>
                <a:ea typeface="+mn-ea"/>
                <a:cs typeface="+mn-cs"/>
              </a:rPr>
              <a:t>A multidimensional quality model: an opportunity for patients, their kin, healthcare providers and professionals to coproduce health. </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Peter Lachman, Paul Batalden, Kris Vanhaecht 2022  </a:t>
            </a:r>
            <a:r>
              <a:rPr kumimoji="0" lang="en-GB" sz="1800" b="0" i="0" u="none" strike="noStrike" kern="1200" cap="none" spc="0" normalizeH="0" baseline="0" noProof="0" dirty="0">
                <a:ln>
                  <a:noFill/>
                </a:ln>
                <a:solidFill>
                  <a:srgbClr val="4472C4"/>
                </a:solidFill>
                <a:effectLst/>
                <a:uLnTx/>
                <a:uFillTx/>
                <a:latin typeface="Calibri" panose="020F0502020204030204"/>
                <a:ea typeface="+mn-ea"/>
                <a:cs typeface="+mn-cs"/>
              </a:rPr>
              <a:t>f1000research.com/articles/9-1140 </a:t>
            </a:r>
          </a:p>
        </p:txBody>
      </p:sp>
      <p:pic>
        <p:nvPicPr>
          <p:cNvPr id="10" name="Picture 9">
            <a:extLst>
              <a:ext uri="{FF2B5EF4-FFF2-40B4-BE49-F238E27FC236}">
                <a16:creationId xmlns:a16="http://schemas.microsoft.com/office/drawing/2014/main" id="{BFC4ABAA-2B40-488A-B81E-0AEA37681265}"/>
              </a:ext>
            </a:extLst>
          </p:cNvPr>
          <p:cNvPicPr>
            <a:picLocks noChangeAspect="1"/>
          </p:cNvPicPr>
          <p:nvPr/>
        </p:nvPicPr>
        <p:blipFill>
          <a:blip r:embed="rId2"/>
          <a:stretch>
            <a:fillRect/>
          </a:stretch>
        </p:blipFill>
        <p:spPr>
          <a:xfrm>
            <a:off x="104361" y="957474"/>
            <a:ext cx="4044176" cy="5037206"/>
          </a:xfrm>
          <a:prstGeom prst="rect">
            <a:avLst/>
          </a:prstGeom>
        </p:spPr>
      </p:pic>
      <p:pic>
        <p:nvPicPr>
          <p:cNvPr id="11" name="Picture 10">
            <a:extLst>
              <a:ext uri="{FF2B5EF4-FFF2-40B4-BE49-F238E27FC236}">
                <a16:creationId xmlns:a16="http://schemas.microsoft.com/office/drawing/2014/main" id="{5543CB61-66B3-4BBB-8DBA-2AA271F28218}"/>
              </a:ext>
            </a:extLst>
          </p:cNvPr>
          <p:cNvPicPr>
            <a:picLocks noChangeAspect="1"/>
          </p:cNvPicPr>
          <p:nvPr/>
        </p:nvPicPr>
        <p:blipFill>
          <a:blip r:embed="rId2"/>
          <a:stretch>
            <a:fillRect/>
          </a:stretch>
        </p:blipFill>
        <p:spPr>
          <a:xfrm>
            <a:off x="7874012" y="979867"/>
            <a:ext cx="4257776" cy="5037206"/>
          </a:xfrm>
          <a:prstGeom prst="rect">
            <a:avLst/>
          </a:prstGeom>
        </p:spPr>
      </p:pic>
      <p:pic>
        <p:nvPicPr>
          <p:cNvPr id="12" name="Picture 11">
            <a:extLst>
              <a:ext uri="{FF2B5EF4-FFF2-40B4-BE49-F238E27FC236}">
                <a16:creationId xmlns:a16="http://schemas.microsoft.com/office/drawing/2014/main" id="{BAD68E28-F9EA-49C8-9F45-990D2C0713D1}"/>
              </a:ext>
            </a:extLst>
          </p:cNvPr>
          <p:cNvPicPr>
            <a:picLocks noChangeAspect="1"/>
          </p:cNvPicPr>
          <p:nvPr/>
        </p:nvPicPr>
        <p:blipFill>
          <a:blip r:embed="rId2"/>
          <a:stretch>
            <a:fillRect/>
          </a:stretch>
        </p:blipFill>
        <p:spPr>
          <a:xfrm>
            <a:off x="4017939" y="910397"/>
            <a:ext cx="4044176" cy="5037206"/>
          </a:xfrm>
          <a:prstGeom prst="rect">
            <a:avLst/>
          </a:prstGeom>
        </p:spPr>
      </p:pic>
      <p:sp>
        <p:nvSpPr>
          <p:cNvPr id="13" name="TextBox 12">
            <a:extLst>
              <a:ext uri="{FF2B5EF4-FFF2-40B4-BE49-F238E27FC236}">
                <a16:creationId xmlns:a16="http://schemas.microsoft.com/office/drawing/2014/main" id="{49DAE72A-9DBF-46A1-9902-FD45104A3611}"/>
              </a:ext>
            </a:extLst>
          </p:cNvPr>
          <p:cNvSpPr txBox="1"/>
          <p:nvPr/>
        </p:nvSpPr>
        <p:spPr>
          <a:xfrm>
            <a:off x="880847" y="1339702"/>
            <a:ext cx="120417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Quality 1.0</a:t>
            </a:r>
          </a:p>
        </p:txBody>
      </p:sp>
      <p:sp>
        <p:nvSpPr>
          <p:cNvPr id="14" name="Rectangle 13">
            <a:extLst>
              <a:ext uri="{FF2B5EF4-FFF2-40B4-BE49-F238E27FC236}">
                <a16:creationId xmlns:a16="http://schemas.microsoft.com/office/drawing/2014/main" id="{29F571D3-6CF5-4C96-861C-F02F96C802A1}"/>
              </a:ext>
            </a:extLst>
          </p:cNvPr>
          <p:cNvSpPr/>
          <p:nvPr/>
        </p:nvSpPr>
        <p:spPr>
          <a:xfrm>
            <a:off x="252742" y="1167433"/>
            <a:ext cx="3362327" cy="64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C4E9B85C-884D-466F-90FA-81C19F7CCC86}"/>
              </a:ext>
            </a:extLst>
          </p:cNvPr>
          <p:cNvSpPr txBox="1"/>
          <p:nvPr/>
        </p:nvSpPr>
        <p:spPr>
          <a:xfrm>
            <a:off x="731990" y="1167433"/>
            <a:ext cx="227979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prstClr val="white"/>
                </a:solidFill>
                <a:effectLst/>
                <a:uLnTx/>
                <a:uFillTx/>
                <a:latin typeface="Calibri" panose="020F0502020204030204"/>
                <a:ea typeface="+mn-ea"/>
                <a:cs typeface="+mn-cs"/>
              </a:rPr>
              <a:t>Quality 1.0</a:t>
            </a:r>
          </a:p>
        </p:txBody>
      </p:sp>
      <p:sp>
        <p:nvSpPr>
          <p:cNvPr id="16" name="Rectangle 15">
            <a:extLst>
              <a:ext uri="{FF2B5EF4-FFF2-40B4-BE49-F238E27FC236}">
                <a16:creationId xmlns:a16="http://schemas.microsoft.com/office/drawing/2014/main" id="{C47F689C-1510-4713-BE65-825D8E7AFFBE}"/>
              </a:ext>
            </a:extLst>
          </p:cNvPr>
          <p:cNvSpPr/>
          <p:nvPr/>
        </p:nvSpPr>
        <p:spPr>
          <a:xfrm>
            <a:off x="8082038" y="1118645"/>
            <a:ext cx="3629105" cy="64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08F09313-CC74-4633-AC8D-63D729E64D04}"/>
              </a:ext>
            </a:extLst>
          </p:cNvPr>
          <p:cNvSpPr txBox="1"/>
          <p:nvPr/>
        </p:nvSpPr>
        <p:spPr>
          <a:xfrm>
            <a:off x="8667667" y="1136020"/>
            <a:ext cx="232083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prstClr val="white"/>
                </a:solidFill>
                <a:effectLst/>
                <a:uLnTx/>
                <a:uFillTx/>
                <a:latin typeface="Calibri" panose="020F0502020204030204"/>
                <a:ea typeface="+mn-ea"/>
                <a:cs typeface="+mn-cs"/>
              </a:rPr>
              <a:t>Quality 3.0</a:t>
            </a:r>
          </a:p>
        </p:txBody>
      </p:sp>
      <p:sp>
        <p:nvSpPr>
          <p:cNvPr id="18" name="Rectangle 17">
            <a:extLst>
              <a:ext uri="{FF2B5EF4-FFF2-40B4-BE49-F238E27FC236}">
                <a16:creationId xmlns:a16="http://schemas.microsoft.com/office/drawing/2014/main" id="{C3AA0E0B-BE43-43E9-A2C8-C8E9598E8ACE}"/>
              </a:ext>
            </a:extLst>
          </p:cNvPr>
          <p:cNvSpPr/>
          <p:nvPr/>
        </p:nvSpPr>
        <p:spPr>
          <a:xfrm>
            <a:off x="4175891" y="1179519"/>
            <a:ext cx="3362327" cy="64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5C2D917E-2936-4D0C-BC21-231FCC1DBED0}"/>
              </a:ext>
            </a:extLst>
          </p:cNvPr>
          <p:cNvSpPr txBox="1"/>
          <p:nvPr/>
        </p:nvSpPr>
        <p:spPr>
          <a:xfrm>
            <a:off x="4655139" y="1179519"/>
            <a:ext cx="227979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prstClr val="white"/>
                </a:solidFill>
                <a:effectLst/>
                <a:uLnTx/>
                <a:uFillTx/>
                <a:latin typeface="Calibri" panose="020F0502020204030204"/>
                <a:ea typeface="+mn-ea"/>
                <a:cs typeface="+mn-cs"/>
              </a:rPr>
              <a:t>Quality 2.0</a:t>
            </a:r>
          </a:p>
        </p:txBody>
      </p:sp>
      <p:sp>
        <p:nvSpPr>
          <p:cNvPr id="20" name="TextBox 19">
            <a:extLst>
              <a:ext uri="{FF2B5EF4-FFF2-40B4-BE49-F238E27FC236}">
                <a16:creationId xmlns:a16="http://schemas.microsoft.com/office/drawing/2014/main" id="{26624706-78AB-4644-A836-304A38C2C620}"/>
              </a:ext>
            </a:extLst>
          </p:cNvPr>
          <p:cNvSpPr txBox="1"/>
          <p:nvPr/>
        </p:nvSpPr>
        <p:spPr>
          <a:xfrm>
            <a:off x="179860" y="1860841"/>
            <a:ext cx="3289634"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Calibri" panose="020F0502020204030204"/>
                <a:ea typeface="+mn-ea"/>
                <a:cs typeface="+mn-cs"/>
              </a:rPr>
              <a:t>Threshol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How might we establish thresholds for good healthcare service?”</a:t>
            </a:r>
          </a:p>
        </p:txBody>
      </p:sp>
      <p:sp>
        <p:nvSpPr>
          <p:cNvPr id="21" name="Rectangle 20">
            <a:extLst>
              <a:ext uri="{FF2B5EF4-FFF2-40B4-BE49-F238E27FC236}">
                <a16:creationId xmlns:a16="http://schemas.microsoft.com/office/drawing/2014/main" id="{154A0DAF-491C-4179-89D6-11A7DDF87C83}"/>
              </a:ext>
            </a:extLst>
          </p:cNvPr>
          <p:cNvSpPr/>
          <p:nvPr/>
        </p:nvSpPr>
        <p:spPr>
          <a:xfrm>
            <a:off x="373903" y="3358069"/>
            <a:ext cx="3216287" cy="2237697"/>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E95F787A-9194-4FB2-8DA7-3541158D86E4}"/>
              </a:ext>
            </a:extLst>
          </p:cNvPr>
          <p:cNvSpPr txBox="1"/>
          <p:nvPr/>
        </p:nvSpPr>
        <p:spPr>
          <a:xfrm>
            <a:off x="524918" y="3523425"/>
            <a:ext cx="3171262" cy="19389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Focu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Development of standar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Inspection to ass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Certific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Guidelines</a:t>
            </a:r>
          </a:p>
        </p:txBody>
      </p:sp>
      <p:sp>
        <p:nvSpPr>
          <p:cNvPr id="24" name="Rectangle 23">
            <a:extLst>
              <a:ext uri="{FF2B5EF4-FFF2-40B4-BE49-F238E27FC236}">
                <a16:creationId xmlns:a16="http://schemas.microsoft.com/office/drawing/2014/main" id="{C012793A-8818-4AF9-B451-57B3A23ADCB7}"/>
              </a:ext>
            </a:extLst>
          </p:cNvPr>
          <p:cNvSpPr/>
          <p:nvPr/>
        </p:nvSpPr>
        <p:spPr>
          <a:xfrm>
            <a:off x="4220591" y="3429000"/>
            <a:ext cx="3314341" cy="2120322"/>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8263F8D8-0EB3-450B-BAC0-CC4162931388}"/>
              </a:ext>
            </a:extLst>
          </p:cNvPr>
          <p:cNvSpPr/>
          <p:nvPr/>
        </p:nvSpPr>
        <p:spPr>
          <a:xfrm>
            <a:off x="8115666" y="3049659"/>
            <a:ext cx="3525143" cy="2600711"/>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9A2E0679-15A9-4D66-A4FC-8776033D4426}"/>
              </a:ext>
            </a:extLst>
          </p:cNvPr>
          <p:cNvSpPr txBox="1"/>
          <p:nvPr/>
        </p:nvSpPr>
        <p:spPr>
          <a:xfrm>
            <a:off x="4089993" y="1834066"/>
            <a:ext cx="3526785" cy="1658916"/>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Calibri" panose="020F0502020204030204"/>
                <a:ea typeface="+mn-ea"/>
                <a:cs typeface="+mn-cs"/>
              </a:rPr>
              <a:t>Organisation-wide syste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00" b="0" i="0" u="none" strike="noStrike" kern="1200" cap="none" spc="0" normalizeH="0" baseline="0" noProof="0" dirty="0">
                <a:ln>
                  <a:noFill/>
                </a:ln>
                <a:solidFill>
                  <a:prstClr val="black"/>
                </a:solidFill>
                <a:effectLst/>
                <a:uLnTx/>
                <a:uFillTx/>
                <a:latin typeface="Calibri" panose="020F0502020204030204"/>
                <a:ea typeface="+mn-ea"/>
                <a:cs typeface="+mn-cs"/>
              </a:rPr>
              <a:t>“How might we use       ‘enterprise-wide systems’ for  best disease management?”</a:t>
            </a:r>
          </a:p>
        </p:txBody>
      </p:sp>
      <p:sp>
        <p:nvSpPr>
          <p:cNvPr id="27" name="TextBox 26">
            <a:extLst>
              <a:ext uri="{FF2B5EF4-FFF2-40B4-BE49-F238E27FC236}">
                <a16:creationId xmlns:a16="http://schemas.microsoft.com/office/drawing/2014/main" id="{D23E8140-20EA-49B4-88BB-93E19B3992A0}"/>
              </a:ext>
            </a:extLst>
          </p:cNvPr>
          <p:cNvSpPr txBox="1"/>
          <p:nvPr/>
        </p:nvSpPr>
        <p:spPr>
          <a:xfrm>
            <a:off x="8062115" y="1750555"/>
            <a:ext cx="3625455" cy="1357295"/>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Calibri" panose="020F0502020204030204"/>
                <a:ea typeface="+mn-ea"/>
                <a:cs typeface="+mn-cs"/>
              </a:rPr>
              <a:t>Coproduction of heal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00" b="0" i="0" u="none" strike="noStrike" kern="1200" cap="none" spc="0" normalizeH="0" baseline="0" noProof="0" dirty="0">
                <a:ln>
                  <a:noFill/>
                </a:ln>
                <a:solidFill>
                  <a:prstClr val="black"/>
                </a:solidFill>
                <a:effectLst/>
                <a:uLnTx/>
                <a:uFillTx/>
                <a:latin typeface="Calibri" panose="020F0502020204030204"/>
                <a:ea typeface="+mn-ea"/>
                <a:cs typeface="+mn-cs"/>
              </a:rPr>
              <a:t>“How might we improve the value    of the contribution that healthcare service makes to health?”</a:t>
            </a:r>
          </a:p>
        </p:txBody>
      </p:sp>
      <p:sp>
        <p:nvSpPr>
          <p:cNvPr id="29" name="TextBox 28">
            <a:extLst>
              <a:ext uri="{FF2B5EF4-FFF2-40B4-BE49-F238E27FC236}">
                <a16:creationId xmlns:a16="http://schemas.microsoft.com/office/drawing/2014/main" id="{C5C198E2-B8CB-4A72-92AD-FF04BBD2F01C}"/>
              </a:ext>
            </a:extLst>
          </p:cNvPr>
          <p:cNvSpPr txBox="1"/>
          <p:nvPr/>
        </p:nvSpPr>
        <p:spPr>
          <a:xfrm>
            <a:off x="4434010" y="3524943"/>
            <a:ext cx="3048886" cy="19389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Focu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Systems, process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Reliabilit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Customer-supplie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Performance measurement</a:t>
            </a:r>
          </a:p>
        </p:txBody>
      </p:sp>
      <p:sp>
        <p:nvSpPr>
          <p:cNvPr id="31" name="TextBox 30">
            <a:extLst>
              <a:ext uri="{FF2B5EF4-FFF2-40B4-BE49-F238E27FC236}">
                <a16:creationId xmlns:a16="http://schemas.microsoft.com/office/drawing/2014/main" id="{00A98C77-0EA8-4D25-9137-1635DA95C775}"/>
              </a:ext>
            </a:extLst>
          </p:cNvPr>
          <p:cNvSpPr txBox="1"/>
          <p:nvPr/>
        </p:nvSpPr>
        <p:spPr>
          <a:xfrm>
            <a:off x="8077020" y="3107850"/>
            <a:ext cx="3653420" cy="255454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Focu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Logic of making a “servic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Ownership of “health”</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Kinship of coproducing peopl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Integration of multiple knowledge system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Value-creating system architecture</a:t>
            </a:r>
          </a:p>
        </p:txBody>
      </p:sp>
    </p:spTree>
    <p:extLst>
      <p:ext uri="{BB962C8B-B14F-4D97-AF65-F5344CB8AC3E}">
        <p14:creationId xmlns:p14="http://schemas.microsoft.com/office/powerpoint/2010/main" val="30536561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6729561" y="-1403304"/>
            <a:ext cx="1489351" cy="45200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6200000">
            <a:off x="2231370" y="-1179306"/>
            <a:ext cx="1776599" cy="42244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0" y="6316591"/>
            <a:ext cx="12001333" cy="492428"/>
          </a:xfrm>
          <a:prstGeom prst="rect">
            <a:avLst/>
          </a:prstGeom>
          <a:noFill/>
        </p:spPr>
        <p:txBody>
          <a:bodyPr wrap="square" lIns="121907" tIns="60953" rIns="121907" bIns="60953" rtlCol="0">
            <a:spAutoFit/>
          </a:bodyPr>
          <a:lstStyle/>
          <a:p>
            <a:pPr marL="0" marR="0" lvl="0" indent="0" algn="ctr" defTabSz="121902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a:ea typeface="+mn-ea"/>
                <a:cs typeface="+mn-cs"/>
              </a:rPr>
              <a:t>Jeremy Heimens, Henry Timms </a:t>
            </a:r>
            <a:r>
              <a:rPr kumimoji="0" lang="en-GB" sz="2400" b="0" i="1" u="none" strike="noStrike" kern="1200" cap="none" spc="0" normalizeH="0" baseline="0" noProof="0" dirty="0">
                <a:ln>
                  <a:noFill/>
                </a:ln>
                <a:solidFill>
                  <a:prstClr val="black"/>
                </a:solidFill>
                <a:effectLst/>
                <a:uLnTx/>
                <a:uFillTx/>
                <a:latin typeface="Calibri"/>
                <a:ea typeface="+mn-ea"/>
                <a:cs typeface="+mn-cs"/>
              </a:rPr>
              <a:t>New Power </a:t>
            </a:r>
            <a:r>
              <a:rPr kumimoji="0" lang="en-GB" sz="2400" b="0" i="0" u="none" strike="noStrike" kern="1200" cap="none" spc="0" normalizeH="0" baseline="0" noProof="0" dirty="0">
                <a:ln>
                  <a:noFill/>
                </a:ln>
                <a:solidFill>
                  <a:prstClr val="black"/>
                </a:solidFill>
                <a:effectLst/>
                <a:uLnTx/>
                <a:uFillTx/>
                <a:latin typeface="Calibri"/>
                <a:ea typeface="+mn-ea"/>
                <a:cs typeface="+mn-cs"/>
              </a:rPr>
              <a:t>(2018)</a:t>
            </a:r>
          </a:p>
        </p:txBody>
      </p:sp>
      <p:sp>
        <p:nvSpPr>
          <p:cNvPr id="5" name="Title 1"/>
          <p:cNvSpPr txBox="1">
            <a:spLocks/>
          </p:cNvSpPr>
          <p:nvPr/>
        </p:nvSpPr>
        <p:spPr>
          <a:xfrm>
            <a:off x="5406151" y="89253"/>
            <a:ext cx="4608512" cy="1376267"/>
          </a:xfrm>
          <a:prstGeom prst="rect">
            <a:avLst/>
          </a:prstGeom>
          <a:noFill/>
          <a:ln>
            <a:noFill/>
          </a:ln>
        </p:spPr>
        <p:txBody>
          <a:bodyPr vert="horz" wrap="square" lIns="121907" tIns="60953" rIns="121907" bIns="60953" anchor="ctr" anchorCtr="0" compatLnSpc="1"/>
          <a:lstStyle>
            <a:lvl1pPr marL="0" marR="0" lvl="0" indent="0" algn="l" defTabSz="914400" rtl="0" fontAlgn="auto" hangingPunct="1">
              <a:lnSpc>
                <a:spcPct val="100000"/>
              </a:lnSpc>
              <a:spcBef>
                <a:spcPts val="0"/>
              </a:spcBef>
              <a:spcAft>
                <a:spcPts val="0"/>
              </a:spcAft>
              <a:buNone/>
              <a:tabLst/>
              <a:defRPr lang="en-US" sz="3600" b="1" i="0" u="none" strike="noStrike" kern="1200" cap="none" spc="0" baseline="0">
                <a:solidFill>
                  <a:srgbClr val="1F497D"/>
                </a:solidFill>
                <a:uFillTx/>
                <a:latin typeface="Calibri"/>
                <a:ea typeface=""/>
                <a:cs typeface=""/>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5067" b="1" i="0" u="none" strike="noStrike" kern="1200" cap="none" spc="0" normalizeH="0" baseline="0" noProof="0" dirty="0">
                <a:ln>
                  <a:noFill/>
                </a:ln>
                <a:solidFill>
                  <a:prstClr val="white"/>
                </a:solidFill>
                <a:effectLst/>
                <a:uLnTx/>
                <a:uFillTx/>
                <a:latin typeface="Calibri"/>
              </a:rPr>
              <a:t>new power</a:t>
            </a:r>
          </a:p>
        </p:txBody>
      </p:sp>
      <p:sp>
        <p:nvSpPr>
          <p:cNvPr id="9" name="TextBox 8"/>
          <p:cNvSpPr txBox="1"/>
          <p:nvPr/>
        </p:nvSpPr>
        <p:spPr>
          <a:xfrm>
            <a:off x="7429435" y="1477299"/>
            <a:ext cx="2795034" cy="4637859"/>
          </a:xfrm>
          <a:prstGeom prst="rect">
            <a:avLst/>
          </a:prstGeom>
          <a:noFill/>
        </p:spPr>
        <p:txBody>
          <a:bodyPr wrap="none" lIns="121907" tIns="60953" rIns="121907" bIns="60953" rtlCol="0">
            <a:spAutoFit/>
          </a:bodyPr>
          <a:lstStyle/>
          <a:p>
            <a:pPr marL="0" marR="0" lvl="0" indent="0" algn="r" defTabSz="1219020" rtl="0" eaLnBrk="1" fontAlgn="auto" latinLnBrk="0" hangingPunct="1">
              <a:lnSpc>
                <a:spcPct val="100000"/>
              </a:lnSpc>
              <a:spcBef>
                <a:spcPts val="0"/>
              </a:spcBef>
              <a:spcAft>
                <a:spcPts val="0"/>
              </a:spcAft>
              <a:buClrTx/>
              <a:buSzTx/>
              <a:buFontTx/>
              <a:buNone/>
              <a:tabLst/>
              <a:defRPr/>
            </a:pPr>
            <a:r>
              <a:rPr kumimoji="0" lang="en-GB"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urrent</a:t>
            </a:r>
          </a:p>
          <a:p>
            <a:pPr marL="0" marR="0" lvl="0" indent="0" algn="r" defTabSz="1219020" rtl="0" eaLnBrk="1" fontAlgn="auto" latinLnBrk="0" hangingPunct="1">
              <a:lnSpc>
                <a:spcPct val="100000"/>
              </a:lnSpc>
              <a:spcBef>
                <a:spcPts val="0"/>
              </a:spcBef>
              <a:spcAft>
                <a:spcPts val="0"/>
              </a:spcAft>
              <a:buClrTx/>
              <a:buSzTx/>
              <a:buFontTx/>
              <a:buNone/>
              <a:tabLst/>
              <a:defRPr/>
            </a:pPr>
            <a:endParaRPr kumimoji="0" lang="en-GB"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r" defTabSz="1219020" rtl="0" eaLnBrk="1" fontAlgn="auto" latinLnBrk="0" hangingPunct="1">
              <a:lnSpc>
                <a:spcPct val="100000"/>
              </a:lnSpc>
              <a:spcBef>
                <a:spcPts val="0"/>
              </a:spcBef>
              <a:spcAft>
                <a:spcPts val="0"/>
              </a:spcAft>
              <a:buClrTx/>
              <a:buSzTx/>
              <a:buFontTx/>
              <a:buNone/>
              <a:tabLst/>
              <a:defRPr/>
            </a:pPr>
            <a:r>
              <a:rPr kumimoji="0" lang="en-GB"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Made by many</a:t>
            </a:r>
          </a:p>
          <a:p>
            <a:pPr marL="0" marR="0" lvl="0" indent="0" algn="r" defTabSz="1219020" rtl="0" eaLnBrk="1" fontAlgn="auto" latinLnBrk="0" hangingPunct="1">
              <a:lnSpc>
                <a:spcPct val="100000"/>
              </a:lnSpc>
              <a:spcBef>
                <a:spcPts val="0"/>
              </a:spcBef>
              <a:spcAft>
                <a:spcPts val="0"/>
              </a:spcAft>
              <a:buClrTx/>
              <a:buSzTx/>
              <a:buFontTx/>
              <a:buNone/>
              <a:tabLst/>
              <a:defRPr/>
            </a:pPr>
            <a:endParaRPr kumimoji="0" lang="en-GB"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r" defTabSz="1219020" rtl="0" eaLnBrk="1" fontAlgn="auto" latinLnBrk="0" hangingPunct="1">
              <a:lnSpc>
                <a:spcPct val="100000"/>
              </a:lnSpc>
              <a:spcBef>
                <a:spcPts val="0"/>
              </a:spcBef>
              <a:spcAft>
                <a:spcPts val="0"/>
              </a:spcAft>
              <a:buClrTx/>
              <a:buSzTx/>
              <a:buFontTx/>
              <a:buNone/>
              <a:tabLst/>
              <a:defRPr/>
            </a:pPr>
            <a:r>
              <a:rPr kumimoji="0" lang="en-GB"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ulled in</a:t>
            </a:r>
          </a:p>
          <a:p>
            <a:pPr marL="0" marR="0" lvl="0" indent="0" algn="r" defTabSz="1219020" rtl="0" eaLnBrk="1" fontAlgn="auto" latinLnBrk="0" hangingPunct="1">
              <a:lnSpc>
                <a:spcPct val="100000"/>
              </a:lnSpc>
              <a:spcBef>
                <a:spcPts val="0"/>
              </a:spcBef>
              <a:spcAft>
                <a:spcPts val="0"/>
              </a:spcAft>
              <a:buClrTx/>
              <a:buSzTx/>
              <a:buFontTx/>
              <a:buNone/>
              <a:tabLst/>
              <a:defRPr/>
            </a:pPr>
            <a:endParaRPr kumimoji="0" lang="en-GB"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r" defTabSz="1219020" rtl="0" eaLnBrk="1" fontAlgn="auto" latinLnBrk="0" hangingPunct="1">
              <a:lnSpc>
                <a:spcPct val="100000"/>
              </a:lnSpc>
              <a:spcBef>
                <a:spcPts val="0"/>
              </a:spcBef>
              <a:spcAft>
                <a:spcPts val="0"/>
              </a:spcAft>
              <a:buClrTx/>
              <a:buSzTx/>
              <a:buFontTx/>
              <a:buNone/>
              <a:tabLst/>
              <a:defRPr/>
            </a:pPr>
            <a:r>
              <a:rPr kumimoji="0" lang="en-GB"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hared</a:t>
            </a:r>
          </a:p>
          <a:p>
            <a:pPr marL="0" marR="0" lvl="0" indent="0" algn="r" defTabSz="1219020" rtl="0" eaLnBrk="1" fontAlgn="auto" latinLnBrk="0" hangingPunct="1">
              <a:lnSpc>
                <a:spcPct val="100000"/>
              </a:lnSpc>
              <a:spcBef>
                <a:spcPts val="0"/>
              </a:spcBef>
              <a:spcAft>
                <a:spcPts val="0"/>
              </a:spcAft>
              <a:buClrTx/>
              <a:buSzTx/>
              <a:buFontTx/>
              <a:buNone/>
              <a:tabLst/>
              <a:defRPr/>
            </a:pPr>
            <a:endParaRPr kumimoji="0" lang="en-GB"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r" defTabSz="1219020" rtl="0" eaLnBrk="1" fontAlgn="auto" latinLnBrk="0" hangingPunct="1">
              <a:lnSpc>
                <a:spcPct val="100000"/>
              </a:lnSpc>
              <a:spcBef>
                <a:spcPts val="0"/>
              </a:spcBef>
              <a:spcAft>
                <a:spcPts val="0"/>
              </a:spcAft>
              <a:buClrTx/>
              <a:buSzTx/>
              <a:buFontTx/>
              <a:buNone/>
              <a:tabLst/>
              <a:defRPr/>
            </a:pPr>
            <a:r>
              <a:rPr kumimoji="0" lang="en-GB"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Open</a:t>
            </a:r>
          </a:p>
          <a:p>
            <a:pPr marL="0" marR="0" lvl="0" indent="0" algn="r" defTabSz="1219020" rtl="0" eaLnBrk="1" fontAlgn="auto" latinLnBrk="0" hangingPunct="1">
              <a:lnSpc>
                <a:spcPct val="100000"/>
              </a:lnSpc>
              <a:spcBef>
                <a:spcPts val="0"/>
              </a:spcBef>
              <a:spcAft>
                <a:spcPts val="0"/>
              </a:spcAft>
              <a:buClrTx/>
              <a:buSzTx/>
              <a:buFontTx/>
              <a:buNone/>
              <a:tabLst/>
              <a:defRPr/>
            </a:pPr>
            <a:endParaRPr kumimoji="0" lang="en-GB"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r" defTabSz="1219020" rtl="0" eaLnBrk="1" fontAlgn="auto" latinLnBrk="0" hangingPunct="1">
              <a:lnSpc>
                <a:spcPct val="100000"/>
              </a:lnSpc>
              <a:spcBef>
                <a:spcPts val="0"/>
              </a:spcBef>
              <a:spcAft>
                <a:spcPts val="0"/>
              </a:spcAft>
              <a:buClrTx/>
              <a:buSzTx/>
              <a:buFontTx/>
              <a:buNone/>
              <a:tabLst/>
              <a:defRPr/>
            </a:pPr>
            <a:r>
              <a:rPr kumimoji="0" lang="en-GB"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Relationship</a:t>
            </a:r>
          </a:p>
        </p:txBody>
      </p:sp>
      <p:sp>
        <p:nvSpPr>
          <p:cNvPr id="2" name="Title 1"/>
          <p:cNvSpPr>
            <a:spLocks noGrp="1"/>
          </p:cNvSpPr>
          <p:nvPr>
            <p:ph type="title"/>
          </p:nvPr>
        </p:nvSpPr>
        <p:spPr>
          <a:xfrm>
            <a:off x="797639" y="233267"/>
            <a:ext cx="4224469" cy="1143000"/>
          </a:xfrm>
        </p:spPr>
        <p:txBody>
          <a:bodyPr/>
          <a:lstStyle/>
          <a:p>
            <a:pPr algn="ctr"/>
            <a:r>
              <a:rPr lang="en-GB" sz="5067" b="1" dirty="0">
                <a:solidFill>
                  <a:schemeClr val="bg1"/>
                </a:solidFill>
                <a:latin typeface="+mn-lt"/>
              </a:rPr>
              <a:t>old power</a:t>
            </a:r>
          </a:p>
        </p:txBody>
      </p:sp>
      <p:sp>
        <p:nvSpPr>
          <p:cNvPr id="3" name="TextBox 2"/>
          <p:cNvSpPr txBox="1"/>
          <p:nvPr/>
        </p:nvSpPr>
        <p:spPr>
          <a:xfrm>
            <a:off x="1007428" y="1549299"/>
            <a:ext cx="2535283" cy="4637859"/>
          </a:xfrm>
          <a:prstGeom prst="rect">
            <a:avLst/>
          </a:prstGeom>
          <a:noFill/>
        </p:spPr>
        <p:txBody>
          <a:bodyPr wrap="none" lIns="121907" tIns="60953" rIns="121907" bIns="60953" rtlCol="0">
            <a:spAutoFit/>
          </a:bodyPr>
          <a:lstStyle/>
          <a:p>
            <a:pPr marL="0" marR="0" lvl="0" indent="0" algn="l" defTabSz="1219020" rtl="0" eaLnBrk="1" fontAlgn="auto" latinLnBrk="0" hangingPunct="1">
              <a:lnSpc>
                <a:spcPct val="100000"/>
              </a:lnSpc>
              <a:spcBef>
                <a:spcPts val="0"/>
              </a:spcBef>
              <a:spcAft>
                <a:spcPts val="0"/>
              </a:spcAft>
              <a:buClrTx/>
              <a:buSzTx/>
              <a:buFontTx/>
              <a:buNone/>
              <a:tabLst/>
              <a:defRPr/>
            </a:pPr>
            <a:r>
              <a:rPr kumimoji="0" lang="en-GB"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urrency</a:t>
            </a:r>
          </a:p>
          <a:p>
            <a:pPr marL="0" marR="0" lvl="0" indent="0" algn="l" defTabSz="1219020" rtl="0" eaLnBrk="1" fontAlgn="auto" latinLnBrk="0" hangingPunct="1">
              <a:lnSpc>
                <a:spcPct val="100000"/>
              </a:lnSpc>
              <a:spcBef>
                <a:spcPts val="0"/>
              </a:spcBef>
              <a:spcAft>
                <a:spcPts val="0"/>
              </a:spcAft>
              <a:buClrTx/>
              <a:buSzTx/>
              <a:buFontTx/>
              <a:buNone/>
              <a:tabLst/>
              <a:defRPr/>
            </a:pPr>
            <a:endParaRPr kumimoji="0" lang="en-GB"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1219020" rtl="0" eaLnBrk="1" fontAlgn="auto" latinLnBrk="0" hangingPunct="1">
              <a:lnSpc>
                <a:spcPct val="100000"/>
              </a:lnSpc>
              <a:spcBef>
                <a:spcPts val="0"/>
              </a:spcBef>
              <a:spcAft>
                <a:spcPts val="0"/>
              </a:spcAft>
              <a:buClrTx/>
              <a:buSzTx/>
              <a:buFontTx/>
              <a:buNone/>
              <a:tabLst/>
              <a:defRPr/>
            </a:pPr>
            <a:r>
              <a:rPr kumimoji="0" lang="en-GB"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Held by a few</a:t>
            </a:r>
          </a:p>
          <a:p>
            <a:pPr marL="0" marR="0" lvl="0" indent="0" algn="l" defTabSz="1219020" rtl="0" eaLnBrk="1" fontAlgn="auto" latinLnBrk="0" hangingPunct="1">
              <a:lnSpc>
                <a:spcPct val="100000"/>
              </a:lnSpc>
              <a:spcBef>
                <a:spcPts val="0"/>
              </a:spcBef>
              <a:spcAft>
                <a:spcPts val="0"/>
              </a:spcAft>
              <a:buClrTx/>
              <a:buSzTx/>
              <a:buFontTx/>
              <a:buNone/>
              <a:tabLst/>
              <a:defRPr/>
            </a:pPr>
            <a:endParaRPr kumimoji="0" lang="en-GB"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1219020" rtl="0" eaLnBrk="1" fontAlgn="auto" latinLnBrk="0" hangingPunct="1">
              <a:lnSpc>
                <a:spcPct val="100000"/>
              </a:lnSpc>
              <a:spcBef>
                <a:spcPts val="0"/>
              </a:spcBef>
              <a:spcAft>
                <a:spcPts val="0"/>
              </a:spcAft>
              <a:buClrTx/>
              <a:buSzTx/>
              <a:buFontTx/>
              <a:buNone/>
              <a:tabLst/>
              <a:defRPr/>
            </a:pPr>
            <a:r>
              <a:rPr kumimoji="0" lang="en-GB"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ushed down</a:t>
            </a:r>
          </a:p>
          <a:p>
            <a:pPr marL="0" marR="0" lvl="0" indent="0" algn="l" defTabSz="1219020" rtl="0" eaLnBrk="1" fontAlgn="auto" latinLnBrk="0" hangingPunct="1">
              <a:lnSpc>
                <a:spcPct val="100000"/>
              </a:lnSpc>
              <a:spcBef>
                <a:spcPts val="0"/>
              </a:spcBef>
              <a:spcAft>
                <a:spcPts val="0"/>
              </a:spcAft>
              <a:buClrTx/>
              <a:buSzTx/>
              <a:buFontTx/>
              <a:buNone/>
              <a:tabLst/>
              <a:defRPr/>
            </a:pPr>
            <a:endParaRPr kumimoji="0" lang="en-GB"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1219020" rtl="0" eaLnBrk="1" fontAlgn="auto" latinLnBrk="0" hangingPunct="1">
              <a:lnSpc>
                <a:spcPct val="100000"/>
              </a:lnSpc>
              <a:spcBef>
                <a:spcPts val="0"/>
              </a:spcBef>
              <a:spcAft>
                <a:spcPts val="0"/>
              </a:spcAft>
              <a:buClrTx/>
              <a:buSzTx/>
              <a:buFontTx/>
              <a:buNone/>
              <a:tabLst/>
              <a:defRPr/>
            </a:pPr>
            <a:r>
              <a:rPr kumimoji="0" lang="en-GB"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ommanded</a:t>
            </a:r>
          </a:p>
          <a:p>
            <a:pPr marL="0" marR="0" lvl="0" indent="0" algn="l" defTabSz="1219020" rtl="0" eaLnBrk="1" fontAlgn="auto" latinLnBrk="0" hangingPunct="1">
              <a:lnSpc>
                <a:spcPct val="100000"/>
              </a:lnSpc>
              <a:spcBef>
                <a:spcPts val="0"/>
              </a:spcBef>
              <a:spcAft>
                <a:spcPts val="0"/>
              </a:spcAft>
              <a:buClrTx/>
              <a:buSzTx/>
              <a:buFontTx/>
              <a:buNone/>
              <a:tabLst/>
              <a:defRPr/>
            </a:pPr>
            <a:endParaRPr kumimoji="0" lang="en-GB"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1219020" rtl="0" eaLnBrk="1" fontAlgn="auto" latinLnBrk="0" hangingPunct="1">
              <a:lnSpc>
                <a:spcPct val="100000"/>
              </a:lnSpc>
              <a:spcBef>
                <a:spcPts val="0"/>
              </a:spcBef>
              <a:spcAft>
                <a:spcPts val="0"/>
              </a:spcAft>
              <a:buClrTx/>
              <a:buSzTx/>
              <a:buFontTx/>
              <a:buNone/>
              <a:tabLst/>
              <a:defRPr/>
            </a:pPr>
            <a:r>
              <a:rPr kumimoji="0" lang="en-GB"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losed</a:t>
            </a:r>
          </a:p>
          <a:p>
            <a:pPr marL="0" marR="0" lvl="0" indent="0" algn="l" defTabSz="1219020" rtl="0" eaLnBrk="1" fontAlgn="auto" latinLnBrk="0" hangingPunct="1">
              <a:lnSpc>
                <a:spcPct val="100000"/>
              </a:lnSpc>
              <a:spcBef>
                <a:spcPts val="0"/>
              </a:spcBef>
              <a:spcAft>
                <a:spcPts val="0"/>
              </a:spcAft>
              <a:buClrTx/>
              <a:buSzTx/>
              <a:buFontTx/>
              <a:buNone/>
              <a:tabLst/>
              <a:defRPr/>
            </a:pPr>
            <a:endParaRPr kumimoji="0" lang="en-GB"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1219020" rtl="0" eaLnBrk="1" fontAlgn="auto" latinLnBrk="0" hangingPunct="1">
              <a:lnSpc>
                <a:spcPct val="100000"/>
              </a:lnSpc>
              <a:spcBef>
                <a:spcPts val="0"/>
              </a:spcBef>
              <a:spcAft>
                <a:spcPts val="0"/>
              </a:spcAft>
              <a:buClrTx/>
              <a:buSzTx/>
              <a:buFontTx/>
              <a:buNone/>
              <a:tabLst/>
              <a:defRPr/>
            </a:pPr>
            <a:r>
              <a:rPr kumimoji="0" lang="en-GB" sz="2667"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Transaction</a:t>
            </a:r>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3121547" y="2702360"/>
            <a:ext cx="4616067" cy="19670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Freeform: Shape 5">
            <a:extLst>
              <a:ext uri="{FF2B5EF4-FFF2-40B4-BE49-F238E27FC236}">
                <a16:creationId xmlns:a16="http://schemas.microsoft.com/office/drawing/2014/main" id="{9C8438C0-F1E4-4EC5-90E9-73D20F431681}"/>
              </a:ext>
            </a:extLst>
          </p:cNvPr>
          <p:cNvSpPr/>
          <p:nvPr/>
        </p:nvSpPr>
        <p:spPr>
          <a:xfrm>
            <a:off x="4111925" y="1586788"/>
            <a:ext cx="504575" cy="4325182"/>
          </a:xfrm>
          <a:custGeom>
            <a:avLst/>
            <a:gdLst>
              <a:gd name="connsiteX0" fmla="*/ 488830 w 504575"/>
              <a:gd name="connsiteY0" fmla="*/ 472 h 4325182"/>
              <a:gd name="connsiteX1" fmla="*/ 270294 w 504575"/>
              <a:gd name="connsiteY1" fmla="*/ 86737 h 4325182"/>
              <a:gd name="connsiteX2" fmla="*/ 235788 w 504575"/>
              <a:gd name="connsiteY2" fmla="*/ 132744 h 4325182"/>
              <a:gd name="connsiteX3" fmla="*/ 224286 w 504575"/>
              <a:gd name="connsiteY3" fmla="*/ 305272 h 4325182"/>
              <a:gd name="connsiteX4" fmla="*/ 201283 w 504575"/>
              <a:gd name="connsiteY4" fmla="*/ 420291 h 4325182"/>
              <a:gd name="connsiteX5" fmla="*/ 195532 w 504575"/>
              <a:gd name="connsiteY5" fmla="*/ 454797 h 4325182"/>
              <a:gd name="connsiteX6" fmla="*/ 178279 w 504575"/>
              <a:gd name="connsiteY6" fmla="*/ 822857 h 4325182"/>
              <a:gd name="connsiteX7" fmla="*/ 155275 w 504575"/>
              <a:gd name="connsiteY7" fmla="*/ 972382 h 4325182"/>
              <a:gd name="connsiteX8" fmla="*/ 138022 w 504575"/>
              <a:gd name="connsiteY8" fmla="*/ 1121906 h 4325182"/>
              <a:gd name="connsiteX9" fmla="*/ 166777 w 504575"/>
              <a:gd name="connsiteY9" fmla="*/ 1645242 h 4325182"/>
              <a:gd name="connsiteX10" fmla="*/ 195532 w 504575"/>
              <a:gd name="connsiteY10" fmla="*/ 1869529 h 4325182"/>
              <a:gd name="connsiteX11" fmla="*/ 212784 w 504575"/>
              <a:gd name="connsiteY11" fmla="*/ 1984548 h 4325182"/>
              <a:gd name="connsiteX12" fmla="*/ 166777 w 504575"/>
              <a:gd name="connsiteY12" fmla="*/ 2093816 h 4325182"/>
              <a:gd name="connsiteX13" fmla="*/ 120769 w 504575"/>
              <a:gd name="connsiteY13" fmla="*/ 2174329 h 4325182"/>
              <a:gd name="connsiteX14" fmla="*/ 57509 w 504575"/>
              <a:gd name="connsiteY14" fmla="*/ 2530887 h 4325182"/>
              <a:gd name="connsiteX15" fmla="*/ 0 w 504575"/>
              <a:gd name="connsiteY15" fmla="*/ 2996714 h 4325182"/>
              <a:gd name="connsiteX16" fmla="*/ 17252 w 504575"/>
              <a:gd name="connsiteY16" fmla="*/ 3174993 h 4325182"/>
              <a:gd name="connsiteX17" fmla="*/ 46007 w 504575"/>
              <a:gd name="connsiteY17" fmla="*/ 3215250 h 4325182"/>
              <a:gd name="connsiteX18" fmla="*/ 51758 w 504575"/>
              <a:gd name="connsiteY18" fmla="*/ 3284261 h 4325182"/>
              <a:gd name="connsiteX19" fmla="*/ 57509 w 504575"/>
              <a:gd name="connsiteY19" fmla="*/ 3376276 h 4325182"/>
              <a:gd name="connsiteX20" fmla="*/ 86264 w 504575"/>
              <a:gd name="connsiteY20" fmla="*/ 3497046 h 4325182"/>
              <a:gd name="connsiteX21" fmla="*/ 109267 w 504575"/>
              <a:gd name="connsiteY21" fmla="*/ 3732835 h 4325182"/>
              <a:gd name="connsiteX22" fmla="*/ 115018 w 504575"/>
              <a:gd name="connsiteY22" fmla="*/ 3957121 h 4325182"/>
              <a:gd name="connsiteX23" fmla="*/ 120769 w 504575"/>
              <a:gd name="connsiteY23" fmla="*/ 4003129 h 4325182"/>
              <a:gd name="connsiteX24" fmla="*/ 138022 w 504575"/>
              <a:gd name="connsiteY24" fmla="*/ 4106646 h 4325182"/>
              <a:gd name="connsiteX25" fmla="*/ 149524 w 504575"/>
              <a:gd name="connsiteY25" fmla="*/ 4141152 h 4325182"/>
              <a:gd name="connsiteX26" fmla="*/ 166777 w 504575"/>
              <a:gd name="connsiteY26" fmla="*/ 4192910 h 4325182"/>
              <a:gd name="connsiteX27" fmla="*/ 172528 w 504575"/>
              <a:gd name="connsiteY27" fmla="*/ 4210163 h 4325182"/>
              <a:gd name="connsiteX28" fmla="*/ 184030 w 504575"/>
              <a:gd name="connsiteY28" fmla="*/ 4256170 h 4325182"/>
              <a:gd name="connsiteX29" fmla="*/ 224286 w 504575"/>
              <a:gd name="connsiteY29" fmla="*/ 4325182 h 4325182"/>
              <a:gd name="connsiteX30" fmla="*/ 310550 w 504575"/>
              <a:gd name="connsiteY30" fmla="*/ 4313680 h 4325182"/>
              <a:gd name="connsiteX31" fmla="*/ 362309 w 504575"/>
              <a:gd name="connsiteY31" fmla="*/ 4279174 h 4325182"/>
              <a:gd name="connsiteX32" fmla="*/ 402566 w 504575"/>
              <a:gd name="connsiteY32" fmla="*/ 4244669 h 4325182"/>
              <a:gd name="connsiteX33" fmla="*/ 431320 w 504575"/>
              <a:gd name="connsiteY33" fmla="*/ 4204412 h 4325182"/>
              <a:gd name="connsiteX34" fmla="*/ 437071 w 504575"/>
              <a:gd name="connsiteY34" fmla="*/ 4164155 h 4325182"/>
              <a:gd name="connsiteX35" fmla="*/ 437071 w 504575"/>
              <a:gd name="connsiteY35" fmla="*/ 4123899 h 4325182"/>
              <a:gd name="connsiteX36" fmla="*/ 414067 w 504575"/>
              <a:gd name="connsiteY36" fmla="*/ 4100895 h 4325182"/>
              <a:gd name="connsiteX37" fmla="*/ 368060 w 504575"/>
              <a:gd name="connsiteY37" fmla="*/ 4014631 h 4325182"/>
              <a:gd name="connsiteX38" fmla="*/ 356558 w 504575"/>
              <a:gd name="connsiteY38" fmla="*/ 3991627 h 4325182"/>
              <a:gd name="connsiteX39" fmla="*/ 350807 w 504575"/>
              <a:gd name="connsiteY39" fmla="*/ 3974374 h 4325182"/>
              <a:gd name="connsiteX40" fmla="*/ 333554 w 504575"/>
              <a:gd name="connsiteY40" fmla="*/ 3962872 h 4325182"/>
              <a:gd name="connsiteX41" fmla="*/ 293298 w 504575"/>
              <a:gd name="connsiteY41" fmla="*/ 3893861 h 4325182"/>
              <a:gd name="connsiteX42" fmla="*/ 264543 w 504575"/>
              <a:gd name="connsiteY42" fmla="*/ 3801846 h 4325182"/>
              <a:gd name="connsiteX43" fmla="*/ 270294 w 504575"/>
              <a:gd name="connsiteY43" fmla="*/ 3548804 h 4325182"/>
              <a:gd name="connsiteX44" fmla="*/ 333554 w 504575"/>
              <a:gd name="connsiteY44" fmla="*/ 3468291 h 4325182"/>
              <a:gd name="connsiteX45" fmla="*/ 402566 w 504575"/>
              <a:gd name="connsiteY45" fmla="*/ 3422284 h 4325182"/>
              <a:gd name="connsiteX46" fmla="*/ 431320 w 504575"/>
              <a:gd name="connsiteY46" fmla="*/ 3405031 h 4325182"/>
              <a:gd name="connsiteX47" fmla="*/ 454324 w 504575"/>
              <a:gd name="connsiteY47" fmla="*/ 3324518 h 4325182"/>
              <a:gd name="connsiteX48" fmla="*/ 465826 w 504575"/>
              <a:gd name="connsiteY48" fmla="*/ 3267008 h 4325182"/>
              <a:gd name="connsiteX49" fmla="*/ 425569 w 504575"/>
              <a:gd name="connsiteY49" fmla="*/ 3123235 h 4325182"/>
              <a:gd name="connsiteX50" fmla="*/ 396815 w 504575"/>
              <a:gd name="connsiteY50" fmla="*/ 3111733 h 4325182"/>
              <a:gd name="connsiteX51" fmla="*/ 339305 w 504575"/>
              <a:gd name="connsiteY51" fmla="*/ 3048472 h 4325182"/>
              <a:gd name="connsiteX52" fmla="*/ 322052 w 504575"/>
              <a:gd name="connsiteY52" fmla="*/ 3013967 h 4325182"/>
              <a:gd name="connsiteX53" fmla="*/ 316301 w 504575"/>
              <a:gd name="connsiteY53" fmla="*/ 2990963 h 4325182"/>
              <a:gd name="connsiteX54" fmla="*/ 299049 w 504575"/>
              <a:gd name="connsiteY54" fmla="*/ 2950706 h 4325182"/>
              <a:gd name="connsiteX55" fmla="*/ 293298 w 504575"/>
              <a:gd name="connsiteY55" fmla="*/ 2910450 h 4325182"/>
              <a:gd name="connsiteX56" fmla="*/ 276045 w 504575"/>
              <a:gd name="connsiteY56" fmla="*/ 2841438 h 4325182"/>
              <a:gd name="connsiteX57" fmla="*/ 247290 w 504575"/>
              <a:gd name="connsiteY57" fmla="*/ 2766676 h 4325182"/>
              <a:gd name="connsiteX58" fmla="*/ 356558 w 504575"/>
              <a:gd name="connsiteY58" fmla="*/ 2645906 h 4325182"/>
              <a:gd name="connsiteX59" fmla="*/ 373811 w 504575"/>
              <a:gd name="connsiteY59" fmla="*/ 2651657 h 4325182"/>
              <a:gd name="connsiteX60" fmla="*/ 408317 w 504575"/>
              <a:gd name="connsiteY60" fmla="*/ 2645906 h 4325182"/>
              <a:gd name="connsiteX61" fmla="*/ 494581 w 504575"/>
              <a:gd name="connsiteY61" fmla="*/ 2530887 h 4325182"/>
              <a:gd name="connsiteX62" fmla="*/ 494581 w 504575"/>
              <a:gd name="connsiteY62" fmla="*/ 2341106 h 4325182"/>
              <a:gd name="connsiteX63" fmla="*/ 465826 w 504575"/>
              <a:gd name="connsiteY63" fmla="*/ 2352608 h 4325182"/>
              <a:gd name="connsiteX64" fmla="*/ 442822 w 504575"/>
              <a:gd name="connsiteY64" fmla="*/ 2369861 h 4325182"/>
              <a:gd name="connsiteX65" fmla="*/ 419818 w 504575"/>
              <a:gd name="connsiteY65" fmla="*/ 2358359 h 4325182"/>
              <a:gd name="connsiteX66" fmla="*/ 391064 w 504575"/>
              <a:gd name="connsiteY66" fmla="*/ 2295099 h 4325182"/>
              <a:gd name="connsiteX67" fmla="*/ 385313 w 504575"/>
              <a:gd name="connsiteY67" fmla="*/ 2277846 h 4325182"/>
              <a:gd name="connsiteX68" fmla="*/ 350807 w 504575"/>
              <a:gd name="connsiteY68" fmla="*/ 2237589 h 4325182"/>
              <a:gd name="connsiteX69" fmla="*/ 339305 w 504575"/>
              <a:gd name="connsiteY69" fmla="*/ 2220337 h 4325182"/>
              <a:gd name="connsiteX70" fmla="*/ 327803 w 504575"/>
              <a:gd name="connsiteY70" fmla="*/ 2197333 h 4325182"/>
              <a:gd name="connsiteX71" fmla="*/ 310550 w 504575"/>
              <a:gd name="connsiteY71" fmla="*/ 2191582 h 4325182"/>
              <a:gd name="connsiteX72" fmla="*/ 293298 w 504575"/>
              <a:gd name="connsiteY72" fmla="*/ 2059310 h 4325182"/>
              <a:gd name="connsiteX73" fmla="*/ 322052 w 504575"/>
              <a:gd name="connsiteY73" fmla="*/ 2036306 h 4325182"/>
              <a:gd name="connsiteX74" fmla="*/ 339305 w 504575"/>
              <a:gd name="connsiteY74" fmla="*/ 1984548 h 4325182"/>
              <a:gd name="connsiteX75" fmla="*/ 345056 w 504575"/>
              <a:gd name="connsiteY75" fmla="*/ 1967295 h 4325182"/>
              <a:gd name="connsiteX76" fmla="*/ 356558 w 504575"/>
              <a:gd name="connsiteY76" fmla="*/ 1944291 h 4325182"/>
              <a:gd name="connsiteX77" fmla="*/ 373811 w 504575"/>
              <a:gd name="connsiteY77" fmla="*/ 1875280 h 4325182"/>
              <a:gd name="connsiteX78" fmla="*/ 396815 w 504575"/>
              <a:gd name="connsiteY78" fmla="*/ 1858027 h 4325182"/>
              <a:gd name="connsiteX79" fmla="*/ 408317 w 504575"/>
              <a:gd name="connsiteY79" fmla="*/ 1823521 h 4325182"/>
              <a:gd name="connsiteX80" fmla="*/ 419818 w 504575"/>
              <a:gd name="connsiteY80" fmla="*/ 1806269 h 4325182"/>
              <a:gd name="connsiteX81" fmla="*/ 437071 w 504575"/>
              <a:gd name="connsiteY81" fmla="*/ 1760261 h 4325182"/>
              <a:gd name="connsiteX82" fmla="*/ 437071 w 504575"/>
              <a:gd name="connsiteY82" fmla="*/ 1673997 h 4325182"/>
              <a:gd name="connsiteX83" fmla="*/ 425569 w 504575"/>
              <a:gd name="connsiteY83" fmla="*/ 1650993 h 4325182"/>
              <a:gd name="connsiteX84" fmla="*/ 391064 w 504575"/>
              <a:gd name="connsiteY84" fmla="*/ 1633740 h 4325182"/>
              <a:gd name="connsiteX85" fmla="*/ 356558 w 504575"/>
              <a:gd name="connsiteY85" fmla="*/ 1599235 h 4325182"/>
              <a:gd name="connsiteX86" fmla="*/ 310550 w 504575"/>
              <a:gd name="connsiteY86" fmla="*/ 1524472 h 4325182"/>
              <a:gd name="connsiteX87" fmla="*/ 304800 w 504575"/>
              <a:gd name="connsiteY87" fmla="*/ 1507220 h 4325182"/>
              <a:gd name="connsiteX88" fmla="*/ 293298 w 504575"/>
              <a:gd name="connsiteY88" fmla="*/ 1466963 h 4325182"/>
              <a:gd name="connsiteX89" fmla="*/ 247290 w 504575"/>
              <a:gd name="connsiteY89" fmla="*/ 1300186 h 4325182"/>
              <a:gd name="connsiteX90" fmla="*/ 253041 w 504575"/>
              <a:gd name="connsiteY90" fmla="*/ 1277182 h 4325182"/>
              <a:gd name="connsiteX91" fmla="*/ 270294 w 504575"/>
              <a:gd name="connsiteY91" fmla="*/ 1254178 h 4325182"/>
              <a:gd name="connsiteX92" fmla="*/ 310550 w 504575"/>
              <a:gd name="connsiteY92" fmla="*/ 1185167 h 4325182"/>
              <a:gd name="connsiteX93" fmla="*/ 368060 w 504575"/>
              <a:gd name="connsiteY93" fmla="*/ 1041393 h 4325182"/>
              <a:gd name="connsiteX94" fmla="*/ 379562 w 504575"/>
              <a:gd name="connsiteY94" fmla="*/ 1024140 h 4325182"/>
              <a:gd name="connsiteX95" fmla="*/ 396815 w 504575"/>
              <a:gd name="connsiteY95" fmla="*/ 995386 h 4325182"/>
              <a:gd name="connsiteX96" fmla="*/ 414067 w 504575"/>
              <a:gd name="connsiteY96" fmla="*/ 949378 h 4325182"/>
              <a:gd name="connsiteX97" fmla="*/ 414067 w 504575"/>
              <a:gd name="connsiteY97" fmla="*/ 845861 h 4325182"/>
              <a:gd name="connsiteX98" fmla="*/ 368060 w 504575"/>
              <a:gd name="connsiteY98" fmla="*/ 828608 h 4325182"/>
              <a:gd name="connsiteX99" fmla="*/ 345056 w 504575"/>
              <a:gd name="connsiteY99" fmla="*/ 788352 h 4325182"/>
              <a:gd name="connsiteX100" fmla="*/ 327803 w 504575"/>
              <a:gd name="connsiteY100" fmla="*/ 771099 h 4325182"/>
              <a:gd name="connsiteX101" fmla="*/ 322052 w 504575"/>
              <a:gd name="connsiteY101" fmla="*/ 742344 h 4325182"/>
              <a:gd name="connsiteX102" fmla="*/ 310550 w 504575"/>
              <a:gd name="connsiteY102" fmla="*/ 725091 h 4325182"/>
              <a:gd name="connsiteX103" fmla="*/ 293298 w 504575"/>
              <a:gd name="connsiteY103" fmla="*/ 592820 h 4325182"/>
              <a:gd name="connsiteX104" fmla="*/ 299049 w 504575"/>
              <a:gd name="connsiteY104" fmla="*/ 541061 h 4325182"/>
              <a:gd name="connsiteX105" fmla="*/ 327803 w 504575"/>
              <a:gd name="connsiteY105" fmla="*/ 506555 h 4325182"/>
              <a:gd name="connsiteX106" fmla="*/ 350807 w 504575"/>
              <a:gd name="connsiteY106" fmla="*/ 477801 h 4325182"/>
              <a:gd name="connsiteX107" fmla="*/ 391064 w 504575"/>
              <a:gd name="connsiteY107" fmla="*/ 374284 h 4325182"/>
              <a:gd name="connsiteX108" fmla="*/ 396815 w 504575"/>
              <a:gd name="connsiteY108" fmla="*/ 345529 h 4325182"/>
              <a:gd name="connsiteX109" fmla="*/ 419818 w 504575"/>
              <a:gd name="connsiteY109" fmla="*/ 305272 h 4325182"/>
              <a:gd name="connsiteX110" fmla="*/ 431320 w 504575"/>
              <a:gd name="connsiteY110" fmla="*/ 265016 h 4325182"/>
              <a:gd name="connsiteX111" fmla="*/ 477328 w 504575"/>
              <a:gd name="connsiteY111" fmla="*/ 149997 h 4325182"/>
              <a:gd name="connsiteX112" fmla="*/ 483079 w 504575"/>
              <a:gd name="connsiteY112" fmla="*/ 103989 h 4325182"/>
              <a:gd name="connsiteX113" fmla="*/ 488830 w 504575"/>
              <a:gd name="connsiteY113" fmla="*/ 472 h 432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504575" h="4325182">
                <a:moveTo>
                  <a:pt x="488830" y="472"/>
                </a:moveTo>
                <a:cubicBezTo>
                  <a:pt x="453366" y="-2403"/>
                  <a:pt x="327040" y="5673"/>
                  <a:pt x="270294" y="86737"/>
                </a:cubicBezTo>
                <a:cubicBezTo>
                  <a:pt x="232141" y="141241"/>
                  <a:pt x="292432" y="76100"/>
                  <a:pt x="235788" y="132744"/>
                </a:cubicBezTo>
                <a:cubicBezTo>
                  <a:pt x="212733" y="201908"/>
                  <a:pt x="238164" y="120230"/>
                  <a:pt x="224286" y="305272"/>
                </a:cubicBezTo>
                <a:cubicBezTo>
                  <a:pt x="217924" y="390104"/>
                  <a:pt x="215691" y="357852"/>
                  <a:pt x="201283" y="420291"/>
                </a:cubicBezTo>
                <a:cubicBezTo>
                  <a:pt x="198661" y="431653"/>
                  <a:pt x="197449" y="443295"/>
                  <a:pt x="195532" y="454797"/>
                </a:cubicBezTo>
                <a:cubicBezTo>
                  <a:pt x="189781" y="577484"/>
                  <a:pt x="185940" y="700275"/>
                  <a:pt x="178279" y="822857"/>
                </a:cubicBezTo>
                <a:cubicBezTo>
                  <a:pt x="171695" y="928196"/>
                  <a:pt x="168195" y="888404"/>
                  <a:pt x="155275" y="972382"/>
                </a:cubicBezTo>
                <a:cubicBezTo>
                  <a:pt x="147337" y="1023979"/>
                  <a:pt x="143138" y="1070746"/>
                  <a:pt x="138022" y="1121906"/>
                </a:cubicBezTo>
                <a:cubicBezTo>
                  <a:pt x="147607" y="1296351"/>
                  <a:pt x="153377" y="1471048"/>
                  <a:pt x="166777" y="1645242"/>
                </a:cubicBezTo>
                <a:cubicBezTo>
                  <a:pt x="172558" y="1720394"/>
                  <a:pt x="185283" y="1794855"/>
                  <a:pt x="195532" y="1869529"/>
                </a:cubicBezTo>
                <a:cubicBezTo>
                  <a:pt x="234846" y="2155964"/>
                  <a:pt x="187392" y="1781411"/>
                  <a:pt x="212784" y="1984548"/>
                </a:cubicBezTo>
                <a:cubicBezTo>
                  <a:pt x="187499" y="2098337"/>
                  <a:pt x="221677" y="1970292"/>
                  <a:pt x="166777" y="2093816"/>
                </a:cubicBezTo>
                <a:cubicBezTo>
                  <a:pt x="129704" y="2177229"/>
                  <a:pt x="188706" y="2106392"/>
                  <a:pt x="120769" y="2174329"/>
                </a:cubicBezTo>
                <a:cubicBezTo>
                  <a:pt x="28097" y="2487101"/>
                  <a:pt x="113721" y="2159891"/>
                  <a:pt x="57509" y="2530887"/>
                </a:cubicBezTo>
                <a:cubicBezTo>
                  <a:pt x="14895" y="2812138"/>
                  <a:pt x="35383" y="2657031"/>
                  <a:pt x="0" y="2996714"/>
                </a:cubicBezTo>
                <a:cubicBezTo>
                  <a:pt x="5751" y="3056140"/>
                  <a:pt x="4953" y="3116570"/>
                  <a:pt x="17252" y="3174993"/>
                </a:cubicBezTo>
                <a:cubicBezTo>
                  <a:pt x="20649" y="3191130"/>
                  <a:pt x="41041" y="3199525"/>
                  <a:pt x="46007" y="3215250"/>
                </a:cubicBezTo>
                <a:cubicBezTo>
                  <a:pt x="52958" y="3237262"/>
                  <a:pt x="50113" y="3261236"/>
                  <a:pt x="51758" y="3284261"/>
                </a:cubicBezTo>
                <a:cubicBezTo>
                  <a:pt x="53948" y="3314914"/>
                  <a:pt x="52590" y="3345941"/>
                  <a:pt x="57509" y="3376276"/>
                </a:cubicBezTo>
                <a:cubicBezTo>
                  <a:pt x="64133" y="3417124"/>
                  <a:pt x="76679" y="3456789"/>
                  <a:pt x="86264" y="3497046"/>
                </a:cubicBezTo>
                <a:cubicBezTo>
                  <a:pt x="95881" y="3578789"/>
                  <a:pt x="105283" y="3649166"/>
                  <a:pt x="109267" y="3732835"/>
                </a:cubicBezTo>
                <a:cubicBezTo>
                  <a:pt x="112824" y="3807537"/>
                  <a:pt x="111838" y="3882402"/>
                  <a:pt x="115018" y="3957121"/>
                </a:cubicBezTo>
                <a:cubicBezTo>
                  <a:pt x="115675" y="3972562"/>
                  <a:pt x="118726" y="3987809"/>
                  <a:pt x="120769" y="4003129"/>
                </a:cubicBezTo>
                <a:cubicBezTo>
                  <a:pt x="124812" y="4033454"/>
                  <a:pt x="131588" y="4079300"/>
                  <a:pt x="138022" y="4106646"/>
                </a:cubicBezTo>
                <a:cubicBezTo>
                  <a:pt x="140799" y="4118448"/>
                  <a:pt x="146583" y="4129390"/>
                  <a:pt x="149524" y="4141152"/>
                </a:cubicBezTo>
                <a:cubicBezTo>
                  <a:pt x="170878" y="4226565"/>
                  <a:pt x="140232" y="4139820"/>
                  <a:pt x="166777" y="4192910"/>
                </a:cubicBezTo>
                <a:cubicBezTo>
                  <a:pt x="169488" y="4198332"/>
                  <a:pt x="170933" y="4204315"/>
                  <a:pt x="172528" y="4210163"/>
                </a:cubicBezTo>
                <a:cubicBezTo>
                  <a:pt x="176687" y="4225414"/>
                  <a:pt x="178480" y="4241369"/>
                  <a:pt x="184030" y="4256170"/>
                </a:cubicBezTo>
                <a:cubicBezTo>
                  <a:pt x="197676" y="4292560"/>
                  <a:pt x="204372" y="4298630"/>
                  <a:pt x="224286" y="4325182"/>
                </a:cubicBezTo>
                <a:cubicBezTo>
                  <a:pt x="253041" y="4321348"/>
                  <a:pt x="282407" y="4320716"/>
                  <a:pt x="310550" y="4313680"/>
                </a:cubicBezTo>
                <a:cubicBezTo>
                  <a:pt x="321642" y="4310907"/>
                  <a:pt x="352556" y="4286489"/>
                  <a:pt x="362309" y="4279174"/>
                </a:cubicBezTo>
                <a:cubicBezTo>
                  <a:pt x="392288" y="4219216"/>
                  <a:pt x="349161" y="4292733"/>
                  <a:pt x="402566" y="4244669"/>
                </a:cubicBezTo>
                <a:cubicBezTo>
                  <a:pt x="414823" y="4233637"/>
                  <a:pt x="421735" y="4217831"/>
                  <a:pt x="431320" y="4204412"/>
                </a:cubicBezTo>
                <a:cubicBezTo>
                  <a:pt x="433237" y="4190993"/>
                  <a:pt x="434646" y="4177492"/>
                  <a:pt x="437071" y="4164155"/>
                </a:cubicBezTo>
                <a:cubicBezTo>
                  <a:pt x="440228" y="4146792"/>
                  <a:pt x="448439" y="4139814"/>
                  <a:pt x="437071" y="4123899"/>
                </a:cubicBezTo>
                <a:cubicBezTo>
                  <a:pt x="430768" y="4115075"/>
                  <a:pt x="421735" y="4108563"/>
                  <a:pt x="414067" y="4100895"/>
                </a:cubicBezTo>
                <a:cubicBezTo>
                  <a:pt x="384254" y="4031327"/>
                  <a:pt x="411289" y="4088736"/>
                  <a:pt x="368060" y="4014631"/>
                </a:cubicBezTo>
                <a:cubicBezTo>
                  <a:pt x="363740" y="4007226"/>
                  <a:pt x="359935" y="3999507"/>
                  <a:pt x="356558" y="3991627"/>
                </a:cubicBezTo>
                <a:cubicBezTo>
                  <a:pt x="354170" y="3986055"/>
                  <a:pt x="354594" y="3979108"/>
                  <a:pt x="350807" y="3974374"/>
                </a:cubicBezTo>
                <a:cubicBezTo>
                  <a:pt x="346489" y="3968977"/>
                  <a:pt x="339305" y="3966706"/>
                  <a:pt x="333554" y="3962872"/>
                </a:cubicBezTo>
                <a:cubicBezTo>
                  <a:pt x="320135" y="3939868"/>
                  <a:pt x="305208" y="3917681"/>
                  <a:pt x="293298" y="3893861"/>
                </a:cubicBezTo>
                <a:cubicBezTo>
                  <a:pt x="278095" y="3863455"/>
                  <a:pt x="272682" y="3834400"/>
                  <a:pt x="264543" y="3801846"/>
                </a:cubicBezTo>
                <a:cubicBezTo>
                  <a:pt x="266460" y="3717499"/>
                  <a:pt x="259448" y="3632473"/>
                  <a:pt x="270294" y="3548804"/>
                </a:cubicBezTo>
                <a:cubicBezTo>
                  <a:pt x="274759" y="3514356"/>
                  <a:pt x="307305" y="3486820"/>
                  <a:pt x="333554" y="3468291"/>
                </a:cubicBezTo>
                <a:cubicBezTo>
                  <a:pt x="356141" y="3452347"/>
                  <a:pt x="379354" y="3437303"/>
                  <a:pt x="402566" y="3422284"/>
                </a:cubicBezTo>
                <a:cubicBezTo>
                  <a:pt x="411950" y="3416212"/>
                  <a:pt x="431320" y="3405031"/>
                  <a:pt x="431320" y="3405031"/>
                </a:cubicBezTo>
                <a:cubicBezTo>
                  <a:pt x="447927" y="3321994"/>
                  <a:pt x="420417" y="3453363"/>
                  <a:pt x="454324" y="3324518"/>
                </a:cubicBezTo>
                <a:cubicBezTo>
                  <a:pt x="459299" y="3305612"/>
                  <a:pt x="461992" y="3286178"/>
                  <a:pt x="465826" y="3267008"/>
                </a:cubicBezTo>
                <a:cubicBezTo>
                  <a:pt x="458179" y="3083474"/>
                  <a:pt x="505853" y="3145131"/>
                  <a:pt x="425569" y="3123235"/>
                </a:cubicBezTo>
                <a:cubicBezTo>
                  <a:pt x="415610" y="3120519"/>
                  <a:pt x="406400" y="3115567"/>
                  <a:pt x="396815" y="3111733"/>
                </a:cubicBezTo>
                <a:cubicBezTo>
                  <a:pt x="378131" y="3093049"/>
                  <a:pt x="353625" y="3072339"/>
                  <a:pt x="339305" y="3048472"/>
                </a:cubicBezTo>
                <a:cubicBezTo>
                  <a:pt x="332689" y="3037445"/>
                  <a:pt x="327803" y="3025469"/>
                  <a:pt x="322052" y="3013967"/>
                </a:cubicBezTo>
                <a:cubicBezTo>
                  <a:pt x="320135" y="3006299"/>
                  <a:pt x="319002" y="2998391"/>
                  <a:pt x="316301" y="2990963"/>
                </a:cubicBezTo>
                <a:cubicBezTo>
                  <a:pt x="311312" y="2977243"/>
                  <a:pt x="303060" y="2964744"/>
                  <a:pt x="299049" y="2950706"/>
                </a:cubicBezTo>
                <a:cubicBezTo>
                  <a:pt x="295325" y="2937673"/>
                  <a:pt x="296090" y="2923714"/>
                  <a:pt x="293298" y="2910450"/>
                </a:cubicBezTo>
                <a:cubicBezTo>
                  <a:pt x="288413" y="2887247"/>
                  <a:pt x="282284" y="2864314"/>
                  <a:pt x="276045" y="2841438"/>
                </a:cubicBezTo>
                <a:cubicBezTo>
                  <a:pt x="259766" y="2781749"/>
                  <a:pt x="268871" y="2799048"/>
                  <a:pt x="247290" y="2766676"/>
                </a:cubicBezTo>
                <a:cubicBezTo>
                  <a:pt x="261104" y="2607818"/>
                  <a:pt x="215232" y="2624707"/>
                  <a:pt x="356558" y="2645906"/>
                </a:cubicBezTo>
                <a:cubicBezTo>
                  <a:pt x="362553" y="2646805"/>
                  <a:pt x="368060" y="2649740"/>
                  <a:pt x="373811" y="2651657"/>
                </a:cubicBezTo>
                <a:cubicBezTo>
                  <a:pt x="385313" y="2649740"/>
                  <a:pt x="398527" y="2652241"/>
                  <a:pt x="408317" y="2645906"/>
                </a:cubicBezTo>
                <a:cubicBezTo>
                  <a:pt x="475748" y="2602274"/>
                  <a:pt x="469040" y="2594740"/>
                  <a:pt x="494581" y="2530887"/>
                </a:cubicBezTo>
                <a:cubicBezTo>
                  <a:pt x="502610" y="2466653"/>
                  <a:pt x="512342" y="2409188"/>
                  <a:pt x="494581" y="2341106"/>
                </a:cubicBezTo>
                <a:cubicBezTo>
                  <a:pt x="491975" y="2331117"/>
                  <a:pt x="474850" y="2347595"/>
                  <a:pt x="465826" y="2352608"/>
                </a:cubicBezTo>
                <a:cubicBezTo>
                  <a:pt x="457447" y="2357263"/>
                  <a:pt x="450490" y="2364110"/>
                  <a:pt x="442822" y="2369861"/>
                </a:cubicBezTo>
                <a:cubicBezTo>
                  <a:pt x="435154" y="2366027"/>
                  <a:pt x="424229" y="2365710"/>
                  <a:pt x="419818" y="2358359"/>
                </a:cubicBezTo>
                <a:cubicBezTo>
                  <a:pt x="359184" y="2257301"/>
                  <a:pt x="443759" y="2347794"/>
                  <a:pt x="391064" y="2295099"/>
                </a:cubicBezTo>
                <a:cubicBezTo>
                  <a:pt x="389147" y="2289348"/>
                  <a:pt x="388024" y="2283268"/>
                  <a:pt x="385313" y="2277846"/>
                </a:cubicBezTo>
                <a:cubicBezTo>
                  <a:pt x="374751" y="2256722"/>
                  <a:pt x="367786" y="2257397"/>
                  <a:pt x="350807" y="2237589"/>
                </a:cubicBezTo>
                <a:cubicBezTo>
                  <a:pt x="346309" y="2232341"/>
                  <a:pt x="342734" y="2226338"/>
                  <a:pt x="339305" y="2220337"/>
                </a:cubicBezTo>
                <a:cubicBezTo>
                  <a:pt x="335051" y="2212894"/>
                  <a:pt x="333865" y="2203395"/>
                  <a:pt x="327803" y="2197333"/>
                </a:cubicBezTo>
                <a:cubicBezTo>
                  <a:pt x="323516" y="2193046"/>
                  <a:pt x="316301" y="2193499"/>
                  <a:pt x="310550" y="2191582"/>
                </a:cubicBezTo>
                <a:cubicBezTo>
                  <a:pt x="276942" y="2141168"/>
                  <a:pt x="269017" y="2144297"/>
                  <a:pt x="293298" y="2059310"/>
                </a:cubicBezTo>
                <a:cubicBezTo>
                  <a:pt x="296670" y="2047508"/>
                  <a:pt x="312467" y="2043974"/>
                  <a:pt x="322052" y="2036306"/>
                </a:cubicBezTo>
                <a:lnTo>
                  <a:pt x="339305" y="1984548"/>
                </a:lnTo>
                <a:cubicBezTo>
                  <a:pt x="341222" y="1978797"/>
                  <a:pt x="342345" y="1972717"/>
                  <a:pt x="345056" y="1967295"/>
                </a:cubicBezTo>
                <a:lnTo>
                  <a:pt x="356558" y="1944291"/>
                </a:lnTo>
                <a:cubicBezTo>
                  <a:pt x="359299" y="1925107"/>
                  <a:pt x="360679" y="1892789"/>
                  <a:pt x="373811" y="1875280"/>
                </a:cubicBezTo>
                <a:cubicBezTo>
                  <a:pt x="379562" y="1867612"/>
                  <a:pt x="389147" y="1863778"/>
                  <a:pt x="396815" y="1858027"/>
                </a:cubicBezTo>
                <a:cubicBezTo>
                  <a:pt x="400649" y="1846525"/>
                  <a:pt x="403393" y="1834600"/>
                  <a:pt x="408317" y="1823521"/>
                </a:cubicBezTo>
                <a:cubicBezTo>
                  <a:pt x="411124" y="1817205"/>
                  <a:pt x="416958" y="1812561"/>
                  <a:pt x="419818" y="1806269"/>
                </a:cubicBezTo>
                <a:cubicBezTo>
                  <a:pt x="426596" y="1791358"/>
                  <a:pt x="431320" y="1775597"/>
                  <a:pt x="437071" y="1760261"/>
                </a:cubicBezTo>
                <a:cubicBezTo>
                  <a:pt x="443540" y="1721444"/>
                  <a:pt x="447288" y="1718272"/>
                  <a:pt x="437071" y="1673997"/>
                </a:cubicBezTo>
                <a:cubicBezTo>
                  <a:pt x="435143" y="1665643"/>
                  <a:pt x="432021" y="1656638"/>
                  <a:pt x="425569" y="1650993"/>
                </a:cubicBezTo>
                <a:cubicBezTo>
                  <a:pt x="415891" y="1642525"/>
                  <a:pt x="401351" y="1641456"/>
                  <a:pt x="391064" y="1633740"/>
                </a:cubicBezTo>
                <a:cubicBezTo>
                  <a:pt x="378051" y="1623980"/>
                  <a:pt x="356558" y="1599235"/>
                  <a:pt x="356558" y="1599235"/>
                </a:cubicBezTo>
                <a:cubicBezTo>
                  <a:pt x="341789" y="1554927"/>
                  <a:pt x="360531" y="1605693"/>
                  <a:pt x="310550" y="1524472"/>
                </a:cubicBezTo>
                <a:cubicBezTo>
                  <a:pt x="307373" y="1519310"/>
                  <a:pt x="306542" y="1513026"/>
                  <a:pt x="304800" y="1507220"/>
                </a:cubicBezTo>
                <a:cubicBezTo>
                  <a:pt x="300790" y="1493853"/>
                  <a:pt x="296586" y="1480526"/>
                  <a:pt x="293298" y="1466963"/>
                </a:cubicBezTo>
                <a:cubicBezTo>
                  <a:pt x="254376" y="1306411"/>
                  <a:pt x="287554" y="1360578"/>
                  <a:pt x="247290" y="1300186"/>
                </a:cubicBezTo>
                <a:cubicBezTo>
                  <a:pt x="249207" y="1292518"/>
                  <a:pt x="249506" y="1284252"/>
                  <a:pt x="253041" y="1277182"/>
                </a:cubicBezTo>
                <a:cubicBezTo>
                  <a:pt x="257328" y="1268609"/>
                  <a:pt x="265214" y="1262306"/>
                  <a:pt x="270294" y="1254178"/>
                </a:cubicBezTo>
                <a:cubicBezTo>
                  <a:pt x="284409" y="1231595"/>
                  <a:pt x="301449" y="1210195"/>
                  <a:pt x="310550" y="1185167"/>
                </a:cubicBezTo>
                <a:cubicBezTo>
                  <a:pt x="332430" y="1124996"/>
                  <a:pt x="339162" y="1102800"/>
                  <a:pt x="368060" y="1041393"/>
                </a:cubicBezTo>
                <a:cubicBezTo>
                  <a:pt x="371003" y="1035139"/>
                  <a:pt x="375899" y="1030001"/>
                  <a:pt x="379562" y="1024140"/>
                </a:cubicBezTo>
                <a:cubicBezTo>
                  <a:pt x="385486" y="1014661"/>
                  <a:pt x="392131" y="1005535"/>
                  <a:pt x="396815" y="995386"/>
                </a:cubicBezTo>
                <a:cubicBezTo>
                  <a:pt x="403679" y="980515"/>
                  <a:pt x="408316" y="964714"/>
                  <a:pt x="414067" y="949378"/>
                </a:cubicBezTo>
                <a:cubicBezTo>
                  <a:pt x="417935" y="918437"/>
                  <a:pt x="426682" y="876138"/>
                  <a:pt x="414067" y="845861"/>
                </a:cubicBezTo>
                <a:cubicBezTo>
                  <a:pt x="410570" y="837468"/>
                  <a:pt x="374879" y="830313"/>
                  <a:pt x="368060" y="828608"/>
                </a:cubicBezTo>
                <a:cubicBezTo>
                  <a:pt x="360392" y="815189"/>
                  <a:pt x="353919" y="801013"/>
                  <a:pt x="345056" y="788352"/>
                </a:cubicBezTo>
                <a:cubicBezTo>
                  <a:pt x="340392" y="781689"/>
                  <a:pt x="331440" y="778374"/>
                  <a:pt x="327803" y="771099"/>
                </a:cubicBezTo>
                <a:cubicBezTo>
                  <a:pt x="323432" y="762356"/>
                  <a:pt x="325484" y="751496"/>
                  <a:pt x="322052" y="742344"/>
                </a:cubicBezTo>
                <a:cubicBezTo>
                  <a:pt x="319625" y="735872"/>
                  <a:pt x="314384" y="730842"/>
                  <a:pt x="310550" y="725091"/>
                </a:cubicBezTo>
                <a:cubicBezTo>
                  <a:pt x="305890" y="692463"/>
                  <a:pt x="294030" y="611111"/>
                  <a:pt x="293298" y="592820"/>
                </a:cubicBezTo>
                <a:cubicBezTo>
                  <a:pt x="292604" y="575475"/>
                  <a:pt x="296195" y="558184"/>
                  <a:pt x="299049" y="541061"/>
                </a:cubicBezTo>
                <a:cubicBezTo>
                  <a:pt x="303442" y="514700"/>
                  <a:pt x="306889" y="527469"/>
                  <a:pt x="327803" y="506555"/>
                </a:cubicBezTo>
                <a:cubicBezTo>
                  <a:pt x="336482" y="497876"/>
                  <a:pt x="344622" y="488403"/>
                  <a:pt x="350807" y="477801"/>
                </a:cubicBezTo>
                <a:cubicBezTo>
                  <a:pt x="360510" y="461168"/>
                  <a:pt x="388259" y="383261"/>
                  <a:pt x="391064" y="374284"/>
                </a:cubicBezTo>
                <a:cubicBezTo>
                  <a:pt x="393980" y="364954"/>
                  <a:pt x="393056" y="354552"/>
                  <a:pt x="396815" y="345529"/>
                </a:cubicBezTo>
                <a:cubicBezTo>
                  <a:pt x="402759" y="331263"/>
                  <a:pt x="413730" y="319478"/>
                  <a:pt x="419818" y="305272"/>
                </a:cubicBezTo>
                <a:cubicBezTo>
                  <a:pt x="425315" y="292445"/>
                  <a:pt x="426473" y="278103"/>
                  <a:pt x="431320" y="265016"/>
                </a:cubicBezTo>
                <a:cubicBezTo>
                  <a:pt x="445662" y="226293"/>
                  <a:pt x="477328" y="149997"/>
                  <a:pt x="477328" y="149997"/>
                </a:cubicBezTo>
                <a:cubicBezTo>
                  <a:pt x="479245" y="134661"/>
                  <a:pt x="483079" y="119444"/>
                  <a:pt x="483079" y="103989"/>
                </a:cubicBezTo>
                <a:cubicBezTo>
                  <a:pt x="483079" y="71344"/>
                  <a:pt x="524294" y="3347"/>
                  <a:pt x="488830" y="47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40669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2" descr="Editable Speech Bubbles (SB5224) - SparkleBox">
            <a:extLst>
              <a:ext uri="{FF2B5EF4-FFF2-40B4-BE49-F238E27FC236}">
                <a16:creationId xmlns:a16="http://schemas.microsoft.com/office/drawing/2014/main" id="{F6F22959-B0F7-448E-B1B7-DD31E9D31370}"/>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6" name="Picture 5">
            <a:extLst>
              <a:ext uri="{FF2B5EF4-FFF2-40B4-BE49-F238E27FC236}">
                <a16:creationId xmlns:a16="http://schemas.microsoft.com/office/drawing/2014/main" id="{5616E628-C41E-4D1B-89B0-984429878A10}"/>
              </a:ext>
            </a:extLst>
          </p:cNvPr>
          <p:cNvPicPr>
            <a:picLocks noChangeAspect="1"/>
          </p:cNvPicPr>
          <p:nvPr/>
        </p:nvPicPr>
        <p:blipFill>
          <a:blip r:embed="rId2"/>
          <a:stretch>
            <a:fillRect/>
          </a:stretch>
        </p:blipFill>
        <p:spPr>
          <a:xfrm>
            <a:off x="-81280" y="907406"/>
            <a:ext cx="12273280" cy="5354142"/>
          </a:xfrm>
          <a:prstGeom prst="rect">
            <a:avLst/>
          </a:prstGeom>
        </p:spPr>
      </p:pic>
      <p:sp>
        <p:nvSpPr>
          <p:cNvPr id="3" name="TextBox 2">
            <a:extLst>
              <a:ext uri="{FF2B5EF4-FFF2-40B4-BE49-F238E27FC236}">
                <a16:creationId xmlns:a16="http://schemas.microsoft.com/office/drawing/2014/main" id="{255FE4DA-B970-4862-8F2A-2D26E37E6545}"/>
              </a:ext>
            </a:extLst>
          </p:cNvPr>
          <p:cNvSpPr txBox="1"/>
          <p:nvPr/>
        </p:nvSpPr>
        <p:spPr>
          <a:xfrm>
            <a:off x="2252662" y="2040404"/>
            <a:ext cx="7686675" cy="2308324"/>
          </a:xfrm>
          <a:prstGeom prst="rect">
            <a:avLst/>
          </a:prstGeom>
          <a:noFill/>
        </p:spPr>
        <p:txBody>
          <a:bodyPr wrap="square">
            <a:spAutoFit/>
          </a:bodyPr>
          <a:lstStyle/>
          <a:p>
            <a:pPr algn="ctr"/>
            <a:r>
              <a:rPr lang="en-GB" sz="2400" b="0" i="0" dirty="0">
                <a:solidFill>
                  <a:srgbClr val="333333"/>
                </a:solidFill>
                <a:effectLst/>
              </a:rPr>
              <a:t>Community is a group, team, or organisation </a:t>
            </a:r>
          </a:p>
          <a:p>
            <a:pPr algn="ctr"/>
            <a:r>
              <a:rPr lang="en-GB" sz="2400" b="0" i="0" dirty="0">
                <a:solidFill>
                  <a:srgbClr val="333333"/>
                </a:solidFill>
                <a:effectLst/>
              </a:rPr>
              <a:t>where there is high trust, effective communication, equality, respect for differences, and high levels of cooperation. The larger focus of the community is on a vision of the future that can be created together and the actions needed today to get to that future.</a:t>
            </a:r>
          </a:p>
        </p:txBody>
      </p:sp>
      <p:sp>
        <p:nvSpPr>
          <p:cNvPr id="9" name="TextBox 8">
            <a:extLst>
              <a:ext uri="{FF2B5EF4-FFF2-40B4-BE49-F238E27FC236}">
                <a16:creationId xmlns:a16="http://schemas.microsoft.com/office/drawing/2014/main" id="{257792E6-784E-4DBC-B64E-E64585D12BD3}"/>
              </a:ext>
            </a:extLst>
          </p:cNvPr>
          <p:cNvSpPr txBox="1"/>
          <p:nvPr/>
        </p:nvSpPr>
        <p:spPr>
          <a:xfrm>
            <a:off x="1102519" y="5751316"/>
            <a:ext cx="6281736" cy="461665"/>
          </a:xfrm>
          <a:prstGeom prst="rect">
            <a:avLst/>
          </a:prstGeom>
          <a:noFill/>
        </p:spPr>
        <p:txBody>
          <a:bodyPr wrap="square">
            <a:spAutoFit/>
          </a:bodyPr>
          <a:lstStyle/>
          <a:p>
            <a:pPr algn="ctr"/>
            <a:r>
              <a:rPr lang="en-GB" sz="2400" dirty="0">
                <a:solidFill>
                  <a:srgbClr val="333333"/>
                </a:solidFill>
              </a:rPr>
              <a:t>Dede Henley</a:t>
            </a:r>
            <a:endParaRPr lang="en-GB" sz="2400" dirty="0"/>
          </a:p>
        </p:txBody>
      </p:sp>
      <p:sp>
        <p:nvSpPr>
          <p:cNvPr id="8" name="Title 7">
            <a:extLst>
              <a:ext uri="{FF2B5EF4-FFF2-40B4-BE49-F238E27FC236}">
                <a16:creationId xmlns:a16="http://schemas.microsoft.com/office/drawing/2014/main" id="{AF3FAD9C-6159-46F4-AF2D-D47CFC44C535}"/>
              </a:ext>
            </a:extLst>
          </p:cNvPr>
          <p:cNvSpPr>
            <a:spLocks noGrp="1"/>
          </p:cNvSpPr>
          <p:nvPr>
            <p:ph type="title"/>
          </p:nvPr>
        </p:nvSpPr>
        <p:spPr/>
        <p:txBody>
          <a:bodyPr/>
          <a:lstStyle/>
          <a:p>
            <a:r>
              <a:rPr lang="en-GB" dirty="0"/>
              <a:t>What is community?</a:t>
            </a:r>
          </a:p>
        </p:txBody>
      </p:sp>
    </p:spTree>
    <p:extLst>
      <p:ext uri="{BB962C8B-B14F-4D97-AF65-F5344CB8AC3E}">
        <p14:creationId xmlns:p14="http://schemas.microsoft.com/office/powerpoint/2010/main" val="20404928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D6AAEFC-E824-448B-A2C4-0BB466544E5C}"/>
              </a:ext>
            </a:extLst>
          </p:cNvPr>
          <p:cNvSpPr>
            <a:spLocks noGrp="1"/>
          </p:cNvSpPr>
          <p:nvPr>
            <p:ph type="subTitle" idx="1"/>
          </p:nvPr>
        </p:nvSpPr>
        <p:spPr>
          <a:xfrm>
            <a:off x="1524000" y="3602037"/>
            <a:ext cx="9144000" cy="2493963"/>
          </a:xfrm>
        </p:spPr>
        <p:txBody>
          <a:bodyPr>
            <a:normAutofit/>
          </a:bodyPr>
          <a:lstStyle/>
          <a:p>
            <a:r>
              <a:rPr lang="en-GB" sz="4000" i="1" dirty="0"/>
              <a:t>      The solution to our most pressing challenges can only be found in our communities</a:t>
            </a:r>
          </a:p>
          <a:p>
            <a:r>
              <a:rPr lang="en-GB" sz="4000" dirty="0"/>
              <a:t>Stronger Things</a:t>
            </a:r>
          </a:p>
        </p:txBody>
      </p:sp>
      <p:pic>
        <p:nvPicPr>
          <p:cNvPr id="4" name="Picture 3">
            <a:extLst>
              <a:ext uri="{FF2B5EF4-FFF2-40B4-BE49-F238E27FC236}">
                <a16:creationId xmlns:a16="http://schemas.microsoft.com/office/drawing/2014/main" id="{C9D04759-E6BE-4509-9BA2-8D16B696A08F}"/>
              </a:ext>
            </a:extLst>
          </p:cNvPr>
          <p:cNvPicPr>
            <a:picLocks noChangeAspect="1"/>
          </p:cNvPicPr>
          <p:nvPr/>
        </p:nvPicPr>
        <p:blipFill>
          <a:blip r:embed="rId2"/>
          <a:stretch>
            <a:fillRect/>
          </a:stretch>
        </p:blipFill>
        <p:spPr>
          <a:xfrm>
            <a:off x="1117600" y="173508"/>
            <a:ext cx="9550400" cy="2853384"/>
          </a:xfrm>
          <a:prstGeom prst="rect">
            <a:avLst/>
          </a:prstGeom>
        </p:spPr>
      </p:pic>
      <p:pic>
        <p:nvPicPr>
          <p:cNvPr id="5" name="Picture 4">
            <a:extLst>
              <a:ext uri="{FF2B5EF4-FFF2-40B4-BE49-F238E27FC236}">
                <a16:creationId xmlns:a16="http://schemas.microsoft.com/office/drawing/2014/main" id="{B1173F36-1D90-4325-8EED-0882CFE3FD94}"/>
              </a:ext>
            </a:extLst>
          </p:cNvPr>
          <p:cNvPicPr>
            <a:picLocks noChangeAspect="1"/>
          </p:cNvPicPr>
          <p:nvPr/>
        </p:nvPicPr>
        <p:blipFill>
          <a:blip r:embed="rId3"/>
          <a:stretch>
            <a:fillRect/>
          </a:stretch>
        </p:blipFill>
        <p:spPr>
          <a:xfrm>
            <a:off x="2127895" y="3287714"/>
            <a:ext cx="842045" cy="543396"/>
          </a:xfrm>
          <a:prstGeom prst="rect">
            <a:avLst/>
          </a:prstGeom>
        </p:spPr>
      </p:pic>
    </p:spTree>
    <p:extLst>
      <p:ext uri="{BB962C8B-B14F-4D97-AF65-F5344CB8AC3E}">
        <p14:creationId xmlns:p14="http://schemas.microsoft.com/office/powerpoint/2010/main" val="10503210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NHS Improvement">
      <a:dk1>
        <a:srgbClr val="000000"/>
      </a:dk1>
      <a:lt1>
        <a:srgbClr val="FFFFFF"/>
      </a:lt1>
      <a:dk2>
        <a:srgbClr val="003087"/>
      </a:dk2>
      <a:lt2>
        <a:srgbClr val="005EB8"/>
      </a:lt2>
      <a:accent1>
        <a:srgbClr val="005EB8"/>
      </a:accent1>
      <a:accent2>
        <a:srgbClr val="41B6E6"/>
      </a:accent2>
      <a:accent3>
        <a:srgbClr val="768692"/>
      </a:accent3>
      <a:accent4>
        <a:srgbClr val="00A499"/>
      </a:accent4>
      <a:accent5>
        <a:srgbClr val="006747"/>
      </a:accent5>
      <a:accent6>
        <a:srgbClr val="00A9CE"/>
      </a:accent6>
      <a:hlink>
        <a:srgbClr val="0072CE"/>
      </a:hlink>
      <a:folHlink>
        <a:srgbClr val="41B6E6"/>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4.3 plain template.pptx" id="{2F2F0580-1474-4B7A-A11B-8505B61FADB3}" vid="{956D579C-3B86-4FDD-8A79-810CF4E92482}"/>
    </a:ext>
  </a:extLst>
</a:theme>
</file>

<file path=ppt/theme/theme6.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11</TotalTime>
  <Words>2553</Words>
  <Application>Microsoft Office PowerPoint</Application>
  <PresentationFormat>Widescreen</PresentationFormat>
  <Paragraphs>300</Paragraphs>
  <Slides>44</Slides>
  <Notes>2</Notes>
  <HiddenSlides>0</HiddenSlides>
  <MMClips>0</MMClips>
  <ScaleCrop>false</ScaleCrop>
  <HeadingPairs>
    <vt:vector size="8" baseType="variant">
      <vt:variant>
        <vt:lpstr>Fonts Used</vt:lpstr>
      </vt:variant>
      <vt:variant>
        <vt:i4>18</vt:i4>
      </vt:variant>
      <vt:variant>
        <vt:lpstr>Theme</vt:lpstr>
      </vt:variant>
      <vt:variant>
        <vt:i4>9</vt:i4>
      </vt:variant>
      <vt:variant>
        <vt:lpstr>Embedded OLE Servers</vt:lpstr>
      </vt:variant>
      <vt:variant>
        <vt:i4>1</vt:i4>
      </vt:variant>
      <vt:variant>
        <vt:lpstr>Slide Titles</vt:lpstr>
      </vt:variant>
      <vt:variant>
        <vt:i4>44</vt:i4>
      </vt:variant>
    </vt:vector>
  </HeadingPairs>
  <TitlesOfParts>
    <vt:vector size="72" baseType="lpstr">
      <vt:lpstr>Arial</vt:lpstr>
      <vt:lpstr>Arimo</vt:lpstr>
      <vt:lpstr>Calibri</vt:lpstr>
      <vt:lpstr>Calibri Light</vt:lpstr>
      <vt:lpstr>Cavolini</vt:lpstr>
      <vt:lpstr>Century Gothic</vt:lpstr>
      <vt:lpstr>Frutiger</vt:lpstr>
      <vt:lpstr>Gill Sans</vt:lpstr>
      <vt:lpstr>Ink Free</vt:lpstr>
      <vt:lpstr>interfaceregular</vt:lpstr>
      <vt:lpstr>LGcafeBold</vt:lpstr>
      <vt:lpstr>MetaNormalLF-Roman</vt:lpstr>
      <vt:lpstr>Playbill</vt:lpstr>
      <vt:lpstr>Roboto</vt:lpstr>
      <vt:lpstr>Sharp Sans</vt:lpstr>
      <vt:lpstr>Times New Roman</vt:lpstr>
      <vt:lpstr>TwitterChirp</vt:lpstr>
      <vt:lpstr>var(--post_title_typography-font-family)</vt:lpstr>
      <vt:lpstr>Office Theme</vt:lpstr>
      <vt:lpstr>1_Office Theme</vt:lpstr>
      <vt:lpstr>2_Office Theme</vt:lpstr>
      <vt:lpstr>3_Office Theme</vt:lpstr>
      <vt:lpstr>4_Office Theme</vt:lpstr>
      <vt:lpstr>Office-tema</vt:lpstr>
      <vt:lpstr>Custom Design</vt:lpstr>
      <vt:lpstr>5_Office Theme</vt:lpstr>
      <vt:lpstr>6_Office Theme</vt:lpstr>
      <vt:lpstr>think-cell Slide</vt:lpstr>
      <vt:lpstr>Principles for building community and engagement for large scale improvement</vt:lpstr>
      <vt:lpstr>The challenge in numbers</vt:lpstr>
      <vt:lpstr>PowerPoint Presentation</vt:lpstr>
      <vt:lpstr>The most powerful intervention is to shift the paradigm</vt:lpstr>
      <vt:lpstr>PowerPoint Presentation</vt:lpstr>
      <vt:lpstr>Quality 3.0 in health and care improvement</vt:lpstr>
      <vt:lpstr>old power</vt:lpstr>
      <vt:lpstr>What is community?</vt:lpstr>
      <vt:lpstr>PowerPoint Presentation</vt:lpstr>
      <vt:lpstr>PowerPoint Presentation</vt:lpstr>
      <vt:lpstr>PowerPoint Presentation</vt:lpstr>
      <vt:lpstr>A sense of community</vt:lpstr>
      <vt:lpstr>Four elements to community</vt:lpstr>
      <vt:lpstr>PowerPoint Presentation</vt:lpstr>
      <vt:lpstr>Change is inherently relational: it depends on our ability to work with others to enable it to happen.  In a system. Helen Bevan and Goran Henriks</vt:lpstr>
      <vt:lpstr>Spread of change happens more through relationships and building of community than any other factor</vt:lpstr>
      <vt:lpstr>PowerPoint Presentation</vt:lpstr>
      <vt:lpstr>PowerPoint Presentation</vt:lpstr>
      <vt:lpstr>Building a sense of belonging is one of the most critical tasks in leading change</vt:lpstr>
      <vt:lpstr>PowerPoint Presentation</vt:lpstr>
      <vt:lpstr>Belonging</vt:lpstr>
      <vt:lpstr>PowerPoint Presentation</vt:lpstr>
      <vt:lpstr>PowerPoint Presentation</vt:lpstr>
      <vt:lpstr>PowerPoint Presentation</vt:lpstr>
      <vt:lpstr>PowerPoint Presentation</vt:lpstr>
      <vt:lpstr>PowerPoint Presentation</vt:lpstr>
      <vt:lpstr>Ten principles for building a healthy community  by Margaret Wheatley</vt:lpstr>
      <vt:lpstr>PowerPoint Presentation</vt:lpstr>
      <vt:lpstr>Ten principles for building a healthy community  by Margaret Wheatley</vt:lpstr>
      <vt:lpstr>How do we shift our thinking from forecasting to foresight?</vt:lpstr>
      <vt:lpstr>Nine principles of deliberative engagement</vt:lpstr>
      <vt:lpstr>Nine principles of deliberative engagement</vt:lpstr>
      <vt:lpstr>Building community and engagement for improvement</vt:lpstr>
      <vt:lpstr>The Horizons NHS team</vt:lpstr>
      <vt:lpstr>Our reach in a year</vt:lpstr>
      <vt:lpstr>What is accelerated design?</vt:lpstr>
      <vt:lpstr>PowerPoint Presentation</vt:lpstr>
      <vt:lpstr>What is positive deviance (PD)?</vt:lpstr>
      <vt:lpstr>What we know</vt:lpstr>
      <vt:lpstr>A Dutch proverb</vt:lpstr>
      <vt:lpstr>Working with Liberating Structures</vt:lpstr>
      <vt:lpstr>1-2-4-all: What opportunities do you see for building community and engagement for large scale change in your own context? </vt:lpstr>
      <vt:lpstr>PowerPoint Presentation</vt:lpstr>
      <vt:lpstr>An after lunch challenge: the one word method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inciples for building community and engagement and what it means for us as leaders of improvement.</dc:title>
  <dc:creator>Helen Bevan</dc:creator>
  <cp:lastModifiedBy>Helen Bevan</cp:lastModifiedBy>
  <cp:revision>2</cp:revision>
  <dcterms:created xsi:type="dcterms:W3CDTF">2022-07-25T20:12:30Z</dcterms:created>
  <dcterms:modified xsi:type="dcterms:W3CDTF">2022-08-01T18:20:01Z</dcterms:modified>
</cp:coreProperties>
</file>